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4"/>
    <p:sldMasterId id="2147483791" r:id="rId5"/>
    <p:sldMasterId id="2147483801" r:id="rId6"/>
    <p:sldMasterId id="2147483813" r:id="rId7"/>
    <p:sldMasterId id="2147483825" r:id="rId8"/>
  </p:sldMasterIdLst>
  <p:notesMasterIdLst>
    <p:notesMasterId r:id="rId21"/>
  </p:notesMasterIdLst>
  <p:handoutMasterIdLst>
    <p:handoutMasterId r:id="rId22"/>
  </p:handoutMasterIdLst>
  <p:sldIdLst>
    <p:sldId id="256" r:id="rId9"/>
    <p:sldId id="269" r:id="rId10"/>
    <p:sldId id="285" r:id="rId11"/>
    <p:sldId id="270" r:id="rId12"/>
    <p:sldId id="273" r:id="rId13"/>
    <p:sldId id="272" r:id="rId14"/>
    <p:sldId id="274" r:id="rId15"/>
    <p:sldId id="278" r:id="rId16"/>
    <p:sldId id="283" r:id="rId17"/>
    <p:sldId id="280" r:id="rId18"/>
    <p:sldId id="281" r:id="rId19"/>
    <p:sldId id="286" r:id="rId20"/>
  </p:sldIdLst>
  <p:sldSz cx="10688638" cy="7553325"/>
  <p:notesSz cx="6858000" cy="9144000"/>
  <p:defaultTextStyle>
    <a:defPPr>
      <a:defRPr lang="en-US"/>
    </a:defPPr>
    <a:lvl1pPr marL="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4" userDrawn="1">
          <p15:clr>
            <a:srgbClr val="A4A3A4"/>
          </p15:clr>
        </p15:guide>
        <p15:guide id="2" pos="3366">
          <p15:clr>
            <a:srgbClr val="A4A3A4"/>
          </p15:clr>
        </p15:guide>
        <p15:guide id="3" orient="horz" pos="2187" userDrawn="1">
          <p15:clr>
            <a:srgbClr val="A4A3A4"/>
          </p15:clr>
        </p15:guide>
        <p15:guide id="5" pos="6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5EA5"/>
    <a:srgbClr val="AF5E90"/>
    <a:srgbClr val="AF2349"/>
    <a:srgbClr val="939598"/>
    <a:srgbClr val="917C93"/>
    <a:srgbClr val="BEBFC1"/>
    <a:srgbClr val="839EC9"/>
    <a:srgbClr val="B2D9F4"/>
    <a:srgbClr val="840037"/>
    <a:srgbClr val="4E7F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88046" autoAdjust="0"/>
  </p:normalViewPr>
  <p:slideViewPr>
    <p:cSldViewPr snapToGrid="0" showGuides="1">
      <p:cViewPr varScale="1">
        <p:scale>
          <a:sx n="56" d="100"/>
          <a:sy n="56" d="100"/>
        </p:scale>
        <p:origin x="1560" y="78"/>
      </p:cViewPr>
      <p:guideLst>
        <p:guide orient="horz" pos="4534"/>
        <p:guide pos="3366"/>
        <p:guide orient="horz" pos="2187"/>
        <p:guide pos="63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02"/>
    </p:cViewPr>
  </p:sorterViewPr>
  <p:notesViewPr>
    <p:cSldViewPr snapToGrid="0" showGuides="1">
      <p:cViewPr varScale="1">
        <p:scale>
          <a:sx n="58" d="100"/>
          <a:sy n="58" d="100"/>
        </p:scale>
        <p:origin x="2730" y="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187C78-CE5E-4A53-9B0A-F8F82D6933FA}" type="doc">
      <dgm:prSet loTypeId="urn:microsoft.com/office/officeart/2008/layout/VerticalCurvedList" loCatId="list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B3B2662-54A7-4F7B-BBB8-A7A1481CBF9F}">
      <dgm:prSet phldrT="[Text]" custT="1"/>
      <dgm:spPr/>
      <dgm:t>
        <a:bodyPr/>
        <a:lstStyle/>
        <a:p>
          <a:r>
            <a:rPr lang="tr-TR" altLang="en-US" sz="2000" dirty="0" smtClean="0"/>
            <a:t>Make eye contact</a:t>
          </a:r>
          <a:r>
            <a:rPr lang="en-US" altLang="en-US" sz="2000" dirty="0" smtClean="0"/>
            <a:t>,…but move focus around the audience</a:t>
          </a:r>
          <a:endParaRPr lang="en-US" sz="2000" dirty="0"/>
        </a:p>
      </dgm:t>
    </dgm:pt>
    <dgm:pt modelId="{2DB3FDCD-05B1-4C96-8652-0B38878F88E1}" type="parTrans" cxnId="{9E93C83A-A977-4EDB-AC62-08848106B37D}">
      <dgm:prSet/>
      <dgm:spPr/>
      <dgm:t>
        <a:bodyPr/>
        <a:lstStyle/>
        <a:p>
          <a:endParaRPr lang="en-US" sz="1600"/>
        </a:p>
      </dgm:t>
    </dgm:pt>
    <dgm:pt modelId="{E3F9458F-AE25-46BF-B3D8-BDE22EE1D2A4}" type="sibTrans" cxnId="{9E93C83A-A977-4EDB-AC62-08848106B37D}">
      <dgm:prSet/>
      <dgm:spPr/>
      <dgm:t>
        <a:bodyPr/>
        <a:lstStyle/>
        <a:p>
          <a:endParaRPr lang="en-US" sz="1600"/>
        </a:p>
      </dgm:t>
    </dgm:pt>
    <dgm:pt modelId="{7170AC68-5252-4951-9F87-C42E79D47361}">
      <dgm:prSet phldrT="[Text]" custT="1"/>
      <dgm:spPr/>
      <dgm:t>
        <a:bodyPr/>
        <a:lstStyle/>
        <a:p>
          <a:r>
            <a:rPr lang="tr-TR" altLang="en-US" sz="2000" dirty="0" smtClean="0"/>
            <a:t>Use your hands</a:t>
          </a:r>
          <a:r>
            <a:rPr lang="en-US" altLang="en-US" sz="2000" dirty="0" smtClean="0"/>
            <a:t>,…but don’t go crazy</a:t>
          </a:r>
          <a:endParaRPr lang="en-US" sz="2000" dirty="0"/>
        </a:p>
      </dgm:t>
    </dgm:pt>
    <dgm:pt modelId="{2C81A656-C513-4473-97F8-559BAF32AC4C}" type="parTrans" cxnId="{03491A50-B655-434E-B198-56B20C2C2FAB}">
      <dgm:prSet/>
      <dgm:spPr/>
      <dgm:t>
        <a:bodyPr/>
        <a:lstStyle/>
        <a:p>
          <a:endParaRPr lang="en-US" sz="1600"/>
        </a:p>
      </dgm:t>
    </dgm:pt>
    <dgm:pt modelId="{5C979547-8403-4ECD-BAEE-6FC420F0E6DC}" type="sibTrans" cxnId="{03491A50-B655-434E-B198-56B20C2C2FAB}">
      <dgm:prSet/>
      <dgm:spPr/>
      <dgm:t>
        <a:bodyPr/>
        <a:lstStyle/>
        <a:p>
          <a:endParaRPr lang="en-US" sz="1600"/>
        </a:p>
      </dgm:t>
    </dgm:pt>
    <dgm:pt modelId="{D18F21EA-0081-41A0-AA4F-7DF699C23B29}">
      <dgm:prSet phldrT="[Text]" custT="1"/>
      <dgm:spPr/>
      <dgm:t>
        <a:bodyPr/>
        <a:lstStyle/>
        <a:p>
          <a:r>
            <a:rPr lang="en-US" altLang="en-US" sz="2000" dirty="0" smtClean="0"/>
            <a:t>If possible move around,…but slowly!</a:t>
          </a:r>
          <a:endParaRPr lang="en-US" sz="2000" dirty="0"/>
        </a:p>
      </dgm:t>
    </dgm:pt>
    <dgm:pt modelId="{E85E60ED-95D6-4B9E-811E-BDF0CCF1ADCD}" type="parTrans" cxnId="{0DC4E2EB-BF99-475D-BA60-C277479EC269}">
      <dgm:prSet/>
      <dgm:spPr/>
      <dgm:t>
        <a:bodyPr/>
        <a:lstStyle/>
        <a:p>
          <a:endParaRPr lang="en-US" sz="1600"/>
        </a:p>
      </dgm:t>
    </dgm:pt>
    <dgm:pt modelId="{39578153-3F22-43AD-A6A3-DB70E1B837F5}" type="sibTrans" cxnId="{0DC4E2EB-BF99-475D-BA60-C277479EC269}">
      <dgm:prSet/>
      <dgm:spPr/>
      <dgm:t>
        <a:bodyPr/>
        <a:lstStyle/>
        <a:p>
          <a:endParaRPr lang="en-US" sz="1600"/>
        </a:p>
      </dgm:t>
    </dgm:pt>
    <dgm:pt modelId="{105CF173-7B15-46CB-A80F-966100A808A7}">
      <dgm:prSet phldrT="[Text]" custT="1"/>
      <dgm:spPr/>
      <dgm:t>
        <a:bodyPr/>
        <a:lstStyle/>
        <a:p>
          <a:r>
            <a:rPr lang="en-US" altLang="en-US" sz="2000" dirty="0" smtClean="0"/>
            <a:t>Maintain good posture &amp; ground yourself</a:t>
          </a:r>
          <a:endParaRPr lang="en-US" sz="2000" dirty="0"/>
        </a:p>
      </dgm:t>
    </dgm:pt>
    <dgm:pt modelId="{5AA166A5-99F2-41A5-B6E4-70C5BE9348DB}" type="parTrans" cxnId="{89E6A2D5-5DDD-4FB9-A48F-B5B5C97D50E5}">
      <dgm:prSet/>
      <dgm:spPr/>
      <dgm:t>
        <a:bodyPr/>
        <a:lstStyle/>
        <a:p>
          <a:endParaRPr lang="en-US" sz="1600"/>
        </a:p>
      </dgm:t>
    </dgm:pt>
    <dgm:pt modelId="{40240AB5-6FA8-47B4-89CC-58AFF35873D5}" type="sibTrans" cxnId="{89E6A2D5-5DDD-4FB9-A48F-B5B5C97D50E5}">
      <dgm:prSet/>
      <dgm:spPr/>
      <dgm:t>
        <a:bodyPr/>
        <a:lstStyle/>
        <a:p>
          <a:endParaRPr lang="en-US" sz="1600"/>
        </a:p>
      </dgm:t>
    </dgm:pt>
    <dgm:pt modelId="{C21A2131-8F54-4E29-9CD6-5FF13D54CCE3}">
      <dgm:prSet phldrT="[Text]" custT="1"/>
      <dgm:spPr/>
      <dgm:t>
        <a:bodyPr/>
        <a:lstStyle/>
        <a:p>
          <a:r>
            <a:rPr lang="en-US" altLang="en-US" sz="2000" dirty="0" smtClean="0"/>
            <a:t>Make sure everyone can see you</a:t>
          </a:r>
          <a:endParaRPr lang="en-US" sz="2000" dirty="0"/>
        </a:p>
      </dgm:t>
    </dgm:pt>
    <dgm:pt modelId="{4A322C01-1598-4C2C-BB26-E09A18C4A658}" type="parTrans" cxnId="{599F54D6-2807-4F93-8731-57D63EAA89D5}">
      <dgm:prSet/>
      <dgm:spPr/>
      <dgm:t>
        <a:bodyPr/>
        <a:lstStyle/>
        <a:p>
          <a:endParaRPr lang="en-US" sz="1600"/>
        </a:p>
      </dgm:t>
    </dgm:pt>
    <dgm:pt modelId="{A330D767-60A1-4026-A363-14EA3C7FF2B7}" type="sibTrans" cxnId="{599F54D6-2807-4F93-8731-57D63EAA89D5}">
      <dgm:prSet/>
      <dgm:spPr/>
      <dgm:t>
        <a:bodyPr/>
        <a:lstStyle/>
        <a:p>
          <a:endParaRPr lang="en-US" sz="1600"/>
        </a:p>
      </dgm:t>
    </dgm:pt>
    <dgm:pt modelId="{C53EF414-C013-4511-AF11-921B1A4D0869}">
      <dgm:prSet phldrT="[Text]" custT="1"/>
      <dgm:spPr/>
      <dgm:t>
        <a:bodyPr/>
        <a:lstStyle/>
        <a:p>
          <a:r>
            <a:rPr lang="en-US" altLang="en-US" sz="2000" dirty="0" smtClean="0"/>
            <a:t>Don't speak with your back to the audience</a:t>
          </a:r>
          <a:endParaRPr lang="en-US" sz="2000" dirty="0"/>
        </a:p>
      </dgm:t>
    </dgm:pt>
    <dgm:pt modelId="{3386628F-AF02-4152-8D55-E931AB1921D5}" type="parTrans" cxnId="{BD0C2A24-FE8D-4AC4-A822-25C727F052FE}">
      <dgm:prSet/>
      <dgm:spPr/>
      <dgm:t>
        <a:bodyPr/>
        <a:lstStyle/>
        <a:p>
          <a:endParaRPr lang="en-US" sz="1600"/>
        </a:p>
      </dgm:t>
    </dgm:pt>
    <dgm:pt modelId="{ED7BEC89-FB05-4B49-975D-A8E0F08C7E28}" type="sibTrans" cxnId="{BD0C2A24-FE8D-4AC4-A822-25C727F052FE}">
      <dgm:prSet/>
      <dgm:spPr/>
      <dgm:t>
        <a:bodyPr/>
        <a:lstStyle/>
        <a:p>
          <a:endParaRPr lang="en-US" sz="1600"/>
        </a:p>
      </dgm:t>
    </dgm:pt>
    <dgm:pt modelId="{166D6A37-2770-4140-8BE4-C083C060F5A5}" type="pres">
      <dgm:prSet presAssocID="{D1187C78-CE5E-4A53-9B0A-F8F82D6933F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2DFEFE4-A862-4F32-AD93-AAF8D7AD5500}" type="pres">
      <dgm:prSet presAssocID="{D1187C78-CE5E-4A53-9B0A-F8F82D6933FA}" presName="Name1" presStyleCnt="0"/>
      <dgm:spPr/>
    </dgm:pt>
    <dgm:pt modelId="{99C1F395-2215-40E0-A6F4-276F399E4597}" type="pres">
      <dgm:prSet presAssocID="{D1187C78-CE5E-4A53-9B0A-F8F82D6933FA}" presName="cycle" presStyleCnt="0"/>
      <dgm:spPr/>
    </dgm:pt>
    <dgm:pt modelId="{211747C0-41D0-485A-90F1-C694C174A0AF}" type="pres">
      <dgm:prSet presAssocID="{D1187C78-CE5E-4A53-9B0A-F8F82D6933FA}" presName="srcNode" presStyleLbl="node1" presStyleIdx="0" presStyleCnt="6"/>
      <dgm:spPr/>
    </dgm:pt>
    <dgm:pt modelId="{71AAB13C-12A8-46FC-BB80-A2F9D82E1AA9}" type="pres">
      <dgm:prSet presAssocID="{D1187C78-CE5E-4A53-9B0A-F8F82D6933FA}" presName="conn" presStyleLbl="parChTrans1D2" presStyleIdx="0" presStyleCnt="1"/>
      <dgm:spPr/>
      <dgm:t>
        <a:bodyPr/>
        <a:lstStyle/>
        <a:p>
          <a:endParaRPr lang="en-US"/>
        </a:p>
      </dgm:t>
    </dgm:pt>
    <dgm:pt modelId="{302C6851-A2ED-485E-979F-76664A044A32}" type="pres">
      <dgm:prSet presAssocID="{D1187C78-CE5E-4A53-9B0A-F8F82D6933FA}" presName="extraNode" presStyleLbl="node1" presStyleIdx="0" presStyleCnt="6"/>
      <dgm:spPr/>
    </dgm:pt>
    <dgm:pt modelId="{3F94CFC0-61C8-411E-85D0-C9BEF8230AB1}" type="pres">
      <dgm:prSet presAssocID="{D1187C78-CE5E-4A53-9B0A-F8F82D6933FA}" presName="dstNode" presStyleLbl="node1" presStyleIdx="0" presStyleCnt="6"/>
      <dgm:spPr/>
    </dgm:pt>
    <dgm:pt modelId="{598B01C1-CBE9-44B4-8B56-F9BE2EDEA6DB}" type="pres">
      <dgm:prSet presAssocID="{4B3B2662-54A7-4F7B-BBB8-A7A1481CBF9F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F27308-C3EB-4E1F-A8E1-C7BFD05BC864}" type="pres">
      <dgm:prSet presAssocID="{4B3B2662-54A7-4F7B-BBB8-A7A1481CBF9F}" presName="accent_1" presStyleCnt="0"/>
      <dgm:spPr/>
    </dgm:pt>
    <dgm:pt modelId="{7095E4F2-7FA7-45A5-B66D-924A2C5217B1}" type="pres">
      <dgm:prSet presAssocID="{4B3B2662-54A7-4F7B-BBB8-A7A1481CBF9F}" presName="accentRepeatNode" presStyleLbl="solidFgAcc1" presStyleIdx="0" presStyleCnt="6"/>
      <dgm:spPr/>
    </dgm:pt>
    <dgm:pt modelId="{24EF61E7-1B04-4491-A195-9BA8FAFA1748}" type="pres">
      <dgm:prSet presAssocID="{7170AC68-5252-4951-9F87-C42E79D47361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311585-7208-4464-A7E2-24227C0DAD55}" type="pres">
      <dgm:prSet presAssocID="{7170AC68-5252-4951-9F87-C42E79D47361}" presName="accent_2" presStyleCnt="0"/>
      <dgm:spPr/>
    </dgm:pt>
    <dgm:pt modelId="{661481CF-F8DF-4408-B31F-5AF0A512B121}" type="pres">
      <dgm:prSet presAssocID="{7170AC68-5252-4951-9F87-C42E79D47361}" presName="accentRepeatNode" presStyleLbl="solidFgAcc1" presStyleIdx="1" presStyleCnt="6"/>
      <dgm:spPr/>
    </dgm:pt>
    <dgm:pt modelId="{36DBB107-5DF1-41F6-9890-0C825D348090}" type="pres">
      <dgm:prSet presAssocID="{D18F21EA-0081-41A0-AA4F-7DF699C23B29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F90798-BB86-442D-8D1A-E50232371DE4}" type="pres">
      <dgm:prSet presAssocID="{D18F21EA-0081-41A0-AA4F-7DF699C23B29}" presName="accent_3" presStyleCnt="0"/>
      <dgm:spPr/>
    </dgm:pt>
    <dgm:pt modelId="{976A87FE-3174-432C-B23E-645AF4C1466C}" type="pres">
      <dgm:prSet presAssocID="{D18F21EA-0081-41A0-AA4F-7DF699C23B29}" presName="accentRepeatNode" presStyleLbl="solidFgAcc1" presStyleIdx="2" presStyleCnt="6"/>
      <dgm:spPr/>
    </dgm:pt>
    <dgm:pt modelId="{751A6D21-AECB-4F39-BBA9-62C688BB93DC}" type="pres">
      <dgm:prSet presAssocID="{105CF173-7B15-46CB-A80F-966100A808A7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A13145-5BDF-4634-81DE-846C696B7A5A}" type="pres">
      <dgm:prSet presAssocID="{105CF173-7B15-46CB-A80F-966100A808A7}" presName="accent_4" presStyleCnt="0"/>
      <dgm:spPr/>
    </dgm:pt>
    <dgm:pt modelId="{FC59EE80-FD3D-4AC5-9640-48B5A3C70075}" type="pres">
      <dgm:prSet presAssocID="{105CF173-7B15-46CB-A80F-966100A808A7}" presName="accentRepeatNode" presStyleLbl="solidFgAcc1" presStyleIdx="3" presStyleCnt="6"/>
      <dgm:spPr/>
    </dgm:pt>
    <dgm:pt modelId="{69BEC859-D435-4AB1-9004-8CAD4888598D}" type="pres">
      <dgm:prSet presAssocID="{C21A2131-8F54-4E29-9CD6-5FF13D54CCE3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6CCBD0-C257-4D2D-A260-D3B46C5D5E0E}" type="pres">
      <dgm:prSet presAssocID="{C21A2131-8F54-4E29-9CD6-5FF13D54CCE3}" presName="accent_5" presStyleCnt="0"/>
      <dgm:spPr/>
    </dgm:pt>
    <dgm:pt modelId="{A592AC14-A26A-4F9F-B1FB-1C5C79C4BC3F}" type="pres">
      <dgm:prSet presAssocID="{C21A2131-8F54-4E29-9CD6-5FF13D54CCE3}" presName="accentRepeatNode" presStyleLbl="solidFgAcc1" presStyleIdx="4" presStyleCnt="6"/>
      <dgm:spPr/>
    </dgm:pt>
    <dgm:pt modelId="{903849AA-A7D8-4AF6-8796-A3C5731517D9}" type="pres">
      <dgm:prSet presAssocID="{C53EF414-C013-4511-AF11-921B1A4D0869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E94E0A-5DC3-47E1-94CD-D09F4D8D6AC4}" type="pres">
      <dgm:prSet presAssocID="{C53EF414-C013-4511-AF11-921B1A4D0869}" presName="accent_6" presStyleCnt="0"/>
      <dgm:spPr/>
    </dgm:pt>
    <dgm:pt modelId="{79907742-2028-4340-8639-41E9A6CCF631}" type="pres">
      <dgm:prSet presAssocID="{C53EF414-C013-4511-AF11-921B1A4D0869}" presName="accentRepeatNode" presStyleLbl="solidFgAcc1" presStyleIdx="5" presStyleCnt="6"/>
      <dgm:spPr/>
    </dgm:pt>
  </dgm:ptLst>
  <dgm:cxnLst>
    <dgm:cxn modelId="{9D82B748-CF70-4C8D-BE41-DC63B5AE9B28}" type="presOf" srcId="{D1187C78-CE5E-4A53-9B0A-F8F82D6933FA}" destId="{166D6A37-2770-4140-8BE4-C083C060F5A5}" srcOrd="0" destOrd="0" presId="urn:microsoft.com/office/officeart/2008/layout/VerticalCurvedList"/>
    <dgm:cxn modelId="{8A7FD882-C781-41C1-89B0-3BEE16E3182D}" type="presOf" srcId="{7170AC68-5252-4951-9F87-C42E79D47361}" destId="{24EF61E7-1B04-4491-A195-9BA8FAFA1748}" srcOrd="0" destOrd="0" presId="urn:microsoft.com/office/officeart/2008/layout/VerticalCurvedList"/>
    <dgm:cxn modelId="{E1084193-E2BB-48A0-BFA1-D2FAE322A52F}" type="presOf" srcId="{C21A2131-8F54-4E29-9CD6-5FF13D54CCE3}" destId="{69BEC859-D435-4AB1-9004-8CAD4888598D}" srcOrd="0" destOrd="0" presId="urn:microsoft.com/office/officeart/2008/layout/VerticalCurvedList"/>
    <dgm:cxn modelId="{599F54D6-2807-4F93-8731-57D63EAA89D5}" srcId="{D1187C78-CE5E-4A53-9B0A-F8F82D6933FA}" destId="{C21A2131-8F54-4E29-9CD6-5FF13D54CCE3}" srcOrd="4" destOrd="0" parTransId="{4A322C01-1598-4C2C-BB26-E09A18C4A658}" sibTransId="{A330D767-60A1-4026-A363-14EA3C7FF2B7}"/>
    <dgm:cxn modelId="{89E6A2D5-5DDD-4FB9-A48F-B5B5C97D50E5}" srcId="{D1187C78-CE5E-4A53-9B0A-F8F82D6933FA}" destId="{105CF173-7B15-46CB-A80F-966100A808A7}" srcOrd="3" destOrd="0" parTransId="{5AA166A5-99F2-41A5-B6E4-70C5BE9348DB}" sibTransId="{40240AB5-6FA8-47B4-89CC-58AFF35873D5}"/>
    <dgm:cxn modelId="{9E93C83A-A977-4EDB-AC62-08848106B37D}" srcId="{D1187C78-CE5E-4A53-9B0A-F8F82D6933FA}" destId="{4B3B2662-54A7-4F7B-BBB8-A7A1481CBF9F}" srcOrd="0" destOrd="0" parTransId="{2DB3FDCD-05B1-4C96-8652-0B38878F88E1}" sibTransId="{E3F9458F-AE25-46BF-B3D8-BDE22EE1D2A4}"/>
    <dgm:cxn modelId="{91A64605-3E6D-404E-8D7C-4E3A510F65E3}" type="presOf" srcId="{4B3B2662-54A7-4F7B-BBB8-A7A1481CBF9F}" destId="{598B01C1-CBE9-44B4-8B56-F9BE2EDEA6DB}" srcOrd="0" destOrd="0" presId="urn:microsoft.com/office/officeart/2008/layout/VerticalCurvedList"/>
    <dgm:cxn modelId="{91554317-397B-4AFB-894B-2F149D4D6625}" type="presOf" srcId="{E3F9458F-AE25-46BF-B3D8-BDE22EE1D2A4}" destId="{71AAB13C-12A8-46FC-BB80-A2F9D82E1AA9}" srcOrd="0" destOrd="0" presId="urn:microsoft.com/office/officeart/2008/layout/VerticalCurvedList"/>
    <dgm:cxn modelId="{46932779-F219-48B0-8DD8-ECB771D47390}" type="presOf" srcId="{C53EF414-C013-4511-AF11-921B1A4D0869}" destId="{903849AA-A7D8-4AF6-8796-A3C5731517D9}" srcOrd="0" destOrd="0" presId="urn:microsoft.com/office/officeart/2008/layout/VerticalCurvedList"/>
    <dgm:cxn modelId="{35D00DF9-CE1F-47A3-8489-A2401ECC7DC7}" type="presOf" srcId="{D18F21EA-0081-41A0-AA4F-7DF699C23B29}" destId="{36DBB107-5DF1-41F6-9890-0C825D348090}" srcOrd="0" destOrd="0" presId="urn:microsoft.com/office/officeart/2008/layout/VerticalCurvedList"/>
    <dgm:cxn modelId="{0DC4E2EB-BF99-475D-BA60-C277479EC269}" srcId="{D1187C78-CE5E-4A53-9B0A-F8F82D6933FA}" destId="{D18F21EA-0081-41A0-AA4F-7DF699C23B29}" srcOrd="2" destOrd="0" parTransId="{E85E60ED-95D6-4B9E-811E-BDF0CCF1ADCD}" sibTransId="{39578153-3F22-43AD-A6A3-DB70E1B837F5}"/>
    <dgm:cxn modelId="{BD0C2A24-FE8D-4AC4-A822-25C727F052FE}" srcId="{D1187C78-CE5E-4A53-9B0A-F8F82D6933FA}" destId="{C53EF414-C013-4511-AF11-921B1A4D0869}" srcOrd="5" destOrd="0" parTransId="{3386628F-AF02-4152-8D55-E931AB1921D5}" sibTransId="{ED7BEC89-FB05-4B49-975D-A8E0F08C7E28}"/>
    <dgm:cxn modelId="{03491A50-B655-434E-B198-56B20C2C2FAB}" srcId="{D1187C78-CE5E-4A53-9B0A-F8F82D6933FA}" destId="{7170AC68-5252-4951-9F87-C42E79D47361}" srcOrd="1" destOrd="0" parTransId="{2C81A656-C513-4473-97F8-559BAF32AC4C}" sibTransId="{5C979547-8403-4ECD-BAEE-6FC420F0E6DC}"/>
    <dgm:cxn modelId="{83121E83-77D2-4A2E-9DAB-4CF9AB30AC14}" type="presOf" srcId="{105CF173-7B15-46CB-A80F-966100A808A7}" destId="{751A6D21-AECB-4F39-BBA9-62C688BB93DC}" srcOrd="0" destOrd="0" presId="urn:microsoft.com/office/officeart/2008/layout/VerticalCurvedList"/>
    <dgm:cxn modelId="{ECC65FF5-D2F5-4CDD-A9C9-996597BDE16C}" type="presParOf" srcId="{166D6A37-2770-4140-8BE4-C083C060F5A5}" destId="{32DFEFE4-A862-4F32-AD93-AAF8D7AD5500}" srcOrd="0" destOrd="0" presId="urn:microsoft.com/office/officeart/2008/layout/VerticalCurvedList"/>
    <dgm:cxn modelId="{D4E20B95-4FC2-47FC-954E-11E728F46A07}" type="presParOf" srcId="{32DFEFE4-A862-4F32-AD93-AAF8D7AD5500}" destId="{99C1F395-2215-40E0-A6F4-276F399E4597}" srcOrd="0" destOrd="0" presId="urn:microsoft.com/office/officeart/2008/layout/VerticalCurvedList"/>
    <dgm:cxn modelId="{56286248-6536-4D6A-85BC-53473C8B0ED4}" type="presParOf" srcId="{99C1F395-2215-40E0-A6F4-276F399E4597}" destId="{211747C0-41D0-485A-90F1-C694C174A0AF}" srcOrd="0" destOrd="0" presId="urn:microsoft.com/office/officeart/2008/layout/VerticalCurvedList"/>
    <dgm:cxn modelId="{62B0EFF2-6D10-4942-9913-36EDC4F08C45}" type="presParOf" srcId="{99C1F395-2215-40E0-A6F4-276F399E4597}" destId="{71AAB13C-12A8-46FC-BB80-A2F9D82E1AA9}" srcOrd="1" destOrd="0" presId="urn:microsoft.com/office/officeart/2008/layout/VerticalCurvedList"/>
    <dgm:cxn modelId="{F4898CE1-3941-4AC6-94B0-064F30B380E0}" type="presParOf" srcId="{99C1F395-2215-40E0-A6F4-276F399E4597}" destId="{302C6851-A2ED-485E-979F-76664A044A32}" srcOrd="2" destOrd="0" presId="urn:microsoft.com/office/officeart/2008/layout/VerticalCurvedList"/>
    <dgm:cxn modelId="{0465754C-8D03-4721-AD32-97C10AEB9F5C}" type="presParOf" srcId="{99C1F395-2215-40E0-A6F4-276F399E4597}" destId="{3F94CFC0-61C8-411E-85D0-C9BEF8230AB1}" srcOrd="3" destOrd="0" presId="urn:microsoft.com/office/officeart/2008/layout/VerticalCurvedList"/>
    <dgm:cxn modelId="{1CB864FA-CF60-43C8-902C-6EE8D5D0988A}" type="presParOf" srcId="{32DFEFE4-A862-4F32-AD93-AAF8D7AD5500}" destId="{598B01C1-CBE9-44B4-8B56-F9BE2EDEA6DB}" srcOrd="1" destOrd="0" presId="urn:microsoft.com/office/officeart/2008/layout/VerticalCurvedList"/>
    <dgm:cxn modelId="{43F1788D-01D2-4F0A-8A93-6DADA8AC777E}" type="presParOf" srcId="{32DFEFE4-A862-4F32-AD93-AAF8D7AD5500}" destId="{5EF27308-C3EB-4E1F-A8E1-C7BFD05BC864}" srcOrd="2" destOrd="0" presId="urn:microsoft.com/office/officeart/2008/layout/VerticalCurvedList"/>
    <dgm:cxn modelId="{C3333CE4-9F51-4B23-9ADC-4A08C1527C6A}" type="presParOf" srcId="{5EF27308-C3EB-4E1F-A8E1-C7BFD05BC864}" destId="{7095E4F2-7FA7-45A5-B66D-924A2C5217B1}" srcOrd="0" destOrd="0" presId="urn:microsoft.com/office/officeart/2008/layout/VerticalCurvedList"/>
    <dgm:cxn modelId="{B450711C-49FA-42CD-8AC0-9E4C256C1842}" type="presParOf" srcId="{32DFEFE4-A862-4F32-AD93-AAF8D7AD5500}" destId="{24EF61E7-1B04-4491-A195-9BA8FAFA1748}" srcOrd="3" destOrd="0" presId="urn:microsoft.com/office/officeart/2008/layout/VerticalCurvedList"/>
    <dgm:cxn modelId="{D0254F5B-3B96-495E-A3A9-84D644EC4315}" type="presParOf" srcId="{32DFEFE4-A862-4F32-AD93-AAF8D7AD5500}" destId="{F9311585-7208-4464-A7E2-24227C0DAD55}" srcOrd="4" destOrd="0" presId="urn:microsoft.com/office/officeart/2008/layout/VerticalCurvedList"/>
    <dgm:cxn modelId="{B7284D1D-471E-4806-B0FF-452370148D16}" type="presParOf" srcId="{F9311585-7208-4464-A7E2-24227C0DAD55}" destId="{661481CF-F8DF-4408-B31F-5AF0A512B121}" srcOrd="0" destOrd="0" presId="urn:microsoft.com/office/officeart/2008/layout/VerticalCurvedList"/>
    <dgm:cxn modelId="{52849CB9-BE42-478D-A9B9-D7FCFD4ADF12}" type="presParOf" srcId="{32DFEFE4-A862-4F32-AD93-AAF8D7AD5500}" destId="{36DBB107-5DF1-41F6-9890-0C825D348090}" srcOrd="5" destOrd="0" presId="urn:microsoft.com/office/officeart/2008/layout/VerticalCurvedList"/>
    <dgm:cxn modelId="{DCA8410F-FAD2-4938-847A-5C42A54D4807}" type="presParOf" srcId="{32DFEFE4-A862-4F32-AD93-AAF8D7AD5500}" destId="{E6F90798-BB86-442D-8D1A-E50232371DE4}" srcOrd="6" destOrd="0" presId="urn:microsoft.com/office/officeart/2008/layout/VerticalCurvedList"/>
    <dgm:cxn modelId="{0D76D340-66B7-4022-B02B-51992B8FF96E}" type="presParOf" srcId="{E6F90798-BB86-442D-8D1A-E50232371DE4}" destId="{976A87FE-3174-432C-B23E-645AF4C1466C}" srcOrd="0" destOrd="0" presId="urn:microsoft.com/office/officeart/2008/layout/VerticalCurvedList"/>
    <dgm:cxn modelId="{D58BE968-84B0-42CF-B3AE-B2BBCA81D422}" type="presParOf" srcId="{32DFEFE4-A862-4F32-AD93-AAF8D7AD5500}" destId="{751A6D21-AECB-4F39-BBA9-62C688BB93DC}" srcOrd="7" destOrd="0" presId="urn:microsoft.com/office/officeart/2008/layout/VerticalCurvedList"/>
    <dgm:cxn modelId="{D72D00CB-FAEB-4B7A-A230-A6AF8C4AF776}" type="presParOf" srcId="{32DFEFE4-A862-4F32-AD93-AAF8D7AD5500}" destId="{10A13145-5BDF-4634-81DE-846C696B7A5A}" srcOrd="8" destOrd="0" presId="urn:microsoft.com/office/officeart/2008/layout/VerticalCurvedList"/>
    <dgm:cxn modelId="{186CAC7A-77CF-45EC-B5D6-D64C1A0C4DF8}" type="presParOf" srcId="{10A13145-5BDF-4634-81DE-846C696B7A5A}" destId="{FC59EE80-FD3D-4AC5-9640-48B5A3C70075}" srcOrd="0" destOrd="0" presId="urn:microsoft.com/office/officeart/2008/layout/VerticalCurvedList"/>
    <dgm:cxn modelId="{7507FDCD-C51E-48CB-9DAF-ADC2C610DEB2}" type="presParOf" srcId="{32DFEFE4-A862-4F32-AD93-AAF8D7AD5500}" destId="{69BEC859-D435-4AB1-9004-8CAD4888598D}" srcOrd="9" destOrd="0" presId="urn:microsoft.com/office/officeart/2008/layout/VerticalCurvedList"/>
    <dgm:cxn modelId="{83D74036-ECD9-4784-9CB4-C86E016C7EA0}" type="presParOf" srcId="{32DFEFE4-A862-4F32-AD93-AAF8D7AD5500}" destId="{366CCBD0-C257-4D2D-A260-D3B46C5D5E0E}" srcOrd="10" destOrd="0" presId="urn:microsoft.com/office/officeart/2008/layout/VerticalCurvedList"/>
    <dgm:cxn modelId="{6933FB22-2216-400F-BCED-68E19B0A66A0}" type="presParOf" srcId="{366CCBD0-C257-4D2D-A260-D3B46C5D5E0E}" destId="{A592AC14-A26A-4F9F-B1FB-1C5C79C4BC3F}" srcOrd="0" destOrd="0" presId="urn:microsoft.com/office/officeart/2008/layout/VerticalCurvedList"/>
    <dgm:cxn modelId="{A1F24BBA-232E-4D97-8170-EF844685998A}" type="presParOf" srcId="{32DFEFE4-A862-4F32-AD93-AAF8D7AD5500}" destId="{903849AA-A7D8-4AF6-8796-A3C5731517D9}" srcOrd="11" destOrd="0" presId="urn:microsoft.com/office/officeart/2008/layout/VerticalCurvedList"/>
    <dgm:cxn modelId="{C366D91B-DF6F-4A67-87BA-CDEED7C1AD6D}" type="presParOf" srcId="{32DFEFE4-A862-4F32-AD93-AAF8D7AD5500}" destId="{8DE94E0A-5DC3-47E1-94CD-D09F4D8D6AC4}" srcOrd="12" destOrd="0" presId="urn:microsoft.com/office/officeart/2008/layout/VerticalCurvedList"/>
    <dgm:cxn modelId="{D4AEB5A3-C338-4B32-AA7C-77AD5332459A}" type="presParOf" srcId="{8DE94E0A-5DC3-47E1-94CD-D09F4D8D6AC4}" destId="{79907742-2028-4340-8639-41E9A6CCF6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BAD886-08B6-496F-844D-B5C52C40D765}" type="datetimeFigureOut">
              <a:rPr lang="en-GB" smtClean="0"/>
              <a:t>06/05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0B5FE1-F8A8-4071-817A-66B032DC5D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61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91D038-C05E-4390-B903-F15EC239069E}" type="datetimeFigureOut">
              <a:rPr lang="en-GB" smtClean="0"/>
              <a:t>06/05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3300" y="685800"/>
            <a:ext cx="4851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CE2601-95AE-4257-9668-B4375FD1C9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245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rainer to</a:t>
            </a:r>
            <a:r>
              <a:rPr lang="en-US" baseline="0" dirty="0" smtClean="0"/>
              <a:t> start the session with the content of the following video:</a:t>
            </a:r>
          </a:p>
          <a:p>
            <a:endParaRPr lang="en-US" baseline="0" dirty="0" smtClean="0"/>
          </a:p>
          <a:p>
            <a:pPr marL="0" marR="0" indent="0" algn="l" defTabSz="1051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https://www.youtube.com/watch?v=Q3W58S29eSE</a:t>
            </a:r>
          </a:p>
          <a:p>
            <a:pPr marL="0" marR="0" indent="0" algn="l" defTabSz="1051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Brilliant ideas and thoughts are the initiators of success, right? Well this statement is true but not entirely. Brilliant ideas and thoughts  “presented well” are the initiators of success.</a:t>
            </a:r>
          </a:p>
          <a:p>
            <a:pPr>
              <a:defRPr/>
            </a:pPr>
            <a:r>
              <a:rPr lang="en-US" dirty="0" smtClean="0"/>
              <a:t>Through this module on Effective Presentation Skills today we will how our presentations can hit the nail on the head.</a:t>
            </a:r>
          </a:p>
          <a:p>
            <a:pPr>
              <a:defRPr/>
            </a:pPr>
            <a:endParaRPr lang="en-US" dirty="0" smtClean="0"/>
          </a:p>
          <a:p>
            <a:pPr marL="0" marR="0" indent="0" algn="l" defTabSz="1051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E7A8F6CA-EB5E-4C58-A6C5-F55551620594}" type="slidenum">
              <a:rPr lang="en-US" altLang="en-US"/>
              <a:pPr>
                <a:spcBef>
                  <a:spcPct val="0"/>
                </a:spcBef>
              </a:pPr>
              <a:t>10</a:t>
            </a:fld>
            <a:endParaRPr lang="en-US" altLang="en-US"/>
          </a:p>
        </p:txBody>
      </p:sp>
      <p:sp>
        <p:nvSpPr>
          <p:cNvPr id="911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11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0254361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8255EC78-5247-4F23-B52D-40D9F90E7790}" type="slidenum">
              <a:rPr lang="en-US" altLang="en-US"/>
              <a:pPr>
                <a:spcBef>
                  <a:spcPct val="0"/>
                </a:spcBef>
              </a:pPr>
              <a:t>11</a:t>
            </a:fld>
            <a:endParaRPr lang="en-US" altLang="en-US"/>
          </a:p>
        </p:txBody>
      </p:sp>
      <p:sp>
        <p:nvSpPr>
          <p:cNvPr id="97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2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313316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Start: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2521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>
                <a:cs typeface="Geneva"/>
              </a:rPr>
              <a:t>Roadmap</a:t>
            </a:r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itchFamily="34" charset="0"/>
                <a:ea typeface="Geneva"/>
                <a:cs typeface="Geneva"/>
              </a:defRPr>
            </a:lvl1pPr>
            <a:lvl2pPr marL="729057" indent="-280406" eaLnBrk="0" hangingPunct="0">
              <a:defRPr sz="2100">
                <a:solidFill>
                  <a:schemeClr val="tx1"/>
                </a:solidFill>
                <a:latin typeface="Arial" pitchFamily="34" charset="0"/>
                <a:ea typeface="Geneva"/>
                <a:cs typeface="Geneva"/>
              </a:defRPr>
            </a:lvl2pPr>
            <a:lvl3pPr marL="1121626" indent="-224325" eaLnBrk="0" hangingPunct="0">
              <a:defRPr sz="2100">
                <a:solidFill>
                  <a:schemeClr val="tx1"/>
                </a:solidFill>
                <a:latin typeface="Arial" pitchFamily="34" charset="0"/>
                <a:ea typeface="Geneva"/>
                <a:cs typeface="Geneva"/>
              </a:defRPr>
            </a:lvl3pPr>
            <a:lvl4pPr marL="1570276" indent="-224325" eaLnBrk="0" hangingPunct="0">
              <a:defRPr sz="2100">
                <a:solidFill>
                  <a:schemeClr val="tx1"/>
                </a:solidFill>
                <a:latin typeface="Arial" pitchFamily="34" charset="0"/>
                <a:ea typeface="Geneva"/>
                <a:cs typeface="Geneva"/>
              </a:defRPr>
            </a:lvl4pPr>
            <a:lvl5pPr marL="2018927" indent="-224325" eaLnBrk="0" hangingPunct="0">
              <a:defRPr sz="2100">
                <a:solidFill>
                  <a:schemeClr val="tx1"/>
                </a:solidFill>
                <a:latin typeface="Arial" pitchFamily="34" charset="0"/>
                <a:ea typeface="Geneva"/>
                <a:cs typeface="Geneva"/>
              </a:defRPr>
            </a:lvl5pPr>
            <a:lvl6pPr marL="2467577" indent="-224325" defTabSz="1021926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Geneva"/>
                <a:cs typeface="Geneva"/>
              </a:defRPr>
            </a:lvl6pPr>
            <a:lvl7pPr marL="2916227" indent="-224325" defTabSz="1021926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Geneva"/>
                <a:cs typeface="Geneva"/>
              </a:defRPr>
            </a:lvl7pPr>
            <a:lvl8pPr marL="3364878" indent="-224325" defTabSz="1021926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Geneva"/>
                <a:cs typeface="Geneva"/>
              </a:defRPr>
            </a:lvl8pPr>
            <a:lvl9pPr marL="3813528" indent="-224325" defTabSz="1021926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Geneva"/>
                <a:cs typeface="Geneva"/>
              </a:defRPr>
            </a:lvl9pPr>
          </a:lstStyle>
          <a:p>
            <a:pPr eaLnBrk="1" hangingPunct="1"/>
            <a:fld id="{E455F530-4E3B-42BC-A2C4-E173D63DA611}" type="slidenum">
              <a:rPr lang="de-DE" sz="1200">
                <a:latin typeface="Calibri" pitchFamily="34" charset="0"/>
                <a:ea typeface="MS PGothic" pitchFamily="34" charset="-128"/>
              </a:rPr>
              <a:pPr eaLnBrk="1" hangingPunct="1"/>
              <a:t>3</a:t>
            </a:fld>
            <a:endParaRPr lang="de-DE" sz="1200">
              <a:latin typeface="Calibri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0694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b="1" dirty="0" smtClean="0"/>
              <a:t>An Informative presentation aims to increase the audience’s knowledge on a particular topic therefore it should be brief where we stick to the facts and avoid complicated information</a:t>
            </a:r>
            <a:endParaRPr lang="en-US" sz="1400" dirty="0" smtClean="0"/>
          </a:p>
          <a:p>
            <a:pPr>
              <a:defRPr/>
            </a:pPr>
            <a:r>
              <a:rPr lang="en-US" b="1" dirty="0" smtClean="0"/>
              <a:t>An information presentation should </a:t>
            </a:r>
            <a:endParaRPr lang="en-US" sz="1400" dirty="0" smtClean="0"/>
          </a:p>
          <a:p>
            <a:pPr>
              <a:defRPr/>
            </a:pPr>
            <a:r>
              <a:rPr lang="en-US" dirty="0" smtClean="0"/>
              <a:t>Explains when things should happen</a:t>
            </a:r>
            <a:br>
              <a:rPr lang="en-US" dirty="0" smtClean="0"/>
            </a:br>
            <a:r>
              <a:rPr lang="en-US" dirty="0" smtClean="0"/>
              <a:t>Explains where things should happen</a:t>
            </a:r>
            <a:br>
              <a:rPr lang="en-US" dirty="0" smtClean="0"/>
            </a:br>
            <a:r>
              <a:rPr lang="en-US" dirty="0" smtClean="0"/>
              <a:t>Explains how things should happen</a:t>
            </a:r>
            <a:br>
              <a:rPr lang="en-US" dirty="0" smtClean="0"/>
            </a:br>
            <a:r>
              <a:rPr lang="en-US" dirty="0" smtClean="0"/>
              <a:t>Simply list items in their order of importance</a:t>
            </a:r>
            <a:br>
              <a:rPr lang="en-US" dirty="0" smtClean="0"/>
            </a:br>
            <a:r>
              <a:rPr lang="en-US" b="1" dirty="0" smtClean="0"/>
              <a:t>the goal of A Persuasive presentation is to </a:t>
            </a:r>
            <a:r>
              <a:rPr lang="en-US" dirty="0" smtClean="0"/>
              <a:t>accept a belief/ position or to take some particular action </a:t>
            </a:r>
            <a:endParaRPr lang="en-US" sz="1400" dirty="0" smtClean="0"/>
          </a:p>
          <a:p>
            <a:pPr lvl="1">
              <a:defRPr/>
            </a:pPr>
            <a:r>
              <a:rPr lang="en-US" dirty="0" smtClean="0"/>
              <a:t>It offers a solution to a controversy, dispute, or problem. </a:t>
            </a:r>
            <a:endParaRPr lang="en-US" sz="1400" dirty="0" smtClean="0"/>
          </a:p>
          <a:p>
            <a:pPr lvl="1">
              <a:defRPr/>
            </a:pPr>
            <a:r>
              <a:rPr lang="en-US" dirty="0" smtClean="0"/>
              <a:t> </a:t>
            </a:r>
            <a:endParaRPr lang="en-US" sz="1400" dirty="0" smtClean="0"/>
          </a:p>
          <a:p>
            <a:pPr lvl="1">
              <a:defRPr/>
            </a:pPr>
            <a:r>
              <a:rPr lang="en-US" dirty="0" smtClean="0"/>
              <a:t>To make a persuasive presentation successful, present sufficient logic, evidence, and emotion to sway the audience to your viewpoint</a:t>
            </a:r>
            <a:endParaRPr lang="en-US" sz="1400" dirty="0" smtClean="0"/>
          </a:p>
          <a:p>
            <a:pPr>
              <a:defRPr/>
            </a:pPr>
            <a:r>
              <a:rPr lang="en-US" dirty="0" smtClean="0"/>
              <a:t> </a:t>
            </a:r>
            <a:endParaRPr lang="en-US" sz="1400" dirty="0" smtClean="0"/>
          </a:p>
          <a:p>
            <a:pPr>
              <a:defRPr/>
            </a:pPr>
            <a:r>
              <a:rPr lang="en-US" dirty="0" smtClean="0"/>
              <a:t>An introduction is immensely critical in a persuasive presentation and should </a:t>
            </a:r>
            <a:endParaRPr lang="en-US" sz="1400" dirty="0" smtClean="0"/>
          </a:p>
          <a:p>
            <a:pPr>
              <a:defRPr/>
            </a:pPr>
            <a:r>
              <a:rPr lang="en-US" dirty="0" smtClean="0"/>
              <a:t>Seize the audience’s attention</a:t>
            </a:r>
            <a:endParaRPr lang="en-US" sz="1400" dirty="0" smtClean="0"/>
          </a:p>
          <a:p>
            <a:pPr>
              <a:defRPr/>
            </a:pPr>
            <a:r>
              <a:rPr lang="en-US" dirty="0" smtClean="0"/>
              <a:t>Describe the advantages of solving the problem or need and </a:t>
            </a:r>
            <a:endParaRPr lang="en-US" sz="1400" dirty="0" smtClean="0"/>
          </a:p>
          <a:p>
            <a:pPr>
              <a:defRPr/>
            </a:pPr>
            <a:r>
              <a:rPr lang="en-US" dirty="0" smtClean="0"/>
              <a:t>Create a desire for the audience to agree with you by describing exactly how your product or service with fill their real needs</a:t>
            </a:r>
            <a:endParaRPr lang="en-US" sz="1400" dirty="0" smtClean="0"/>
          </a:p>
          <a:p>
            <a:pPr>
              <a:defRPr/>
            </a:pPr>
            <a:r>
              <a:rPr lang="en-US" dirty="0" smtClean="0"/>
              <a:t>Close your persuasive presentation with a call to action and ask for the order</a:t>
            </a:r>
            <a:endParaRPr lang="en-US" sz="1400" dirty="0" smtClean="0"/>
          </a:p>
          <a:p>
            <a:pPr>
              <a:defRPr/>
            </a:pPr>
            <a:r>
              <a:rPr lang="en-US" dirty="0" smtClean="0"/>
              <a:t>the decision that you want to be made and the course of action that you want to be followed</a:t>
            </a:r>
            <a:endParaRPr lang="en-US" sz="1400" dirty="0" smtClean="0"/>
          </a:p>
          <a:p>
            <a:pPr>
              <a:defRPr/>
            </a:pPr>
            <a:r>
              <a:rPr lang="en-US" dirty="0" smtClean="0"/>
              <a:t> </a:t>
            </a:r>
            <a:endParaRPr lang="en-US" sz="1400" dirty="0" smtClean="0"/>
          </a:p>
          <a:p>
            <a:pPr>
              <a:defRPr/>
            </a:pPr>
            <a:r>
              <a:rPr lang="en-US" b="1" dirty="0" smtClean="0"/>
              <a:t>On the other hand an Instructional presentation gives </a:t>
            </a:r>
            <a:r>
              <a:rPr lang="en-US" dirty="0" smtClean="0"/>
              <a:t>specific directions or orders. </a:t>
            </a:r>
            <a:endParaRPr lang="en-US" sz="1400" dirty="0" smtClean="0"/>
          </a:p>
          <a:p>
            <a:pPr>
              <a:defRPr/>
            </a:pPr>
            <a:r>
              <a:rPr lang="de-DE" dirty="0" smtClean="0"/>
              <a:t>At the end of your presentation the listeners need to have gained new knowledge or skill. Therefore you should </a:t>
            </a:r>
            <a:endParaRPr lang="en-US" sz="1600" dirty="0" smtClean="0"/>
          </a:p>
          <a:p>
            <a:pPr>
              <a:defRPr/>
            </a:pPr>
            <a:r>
              <a:rPr lang="en-US" dirty="0" smtClean="0"/>
              <a:t> </a:t>
            </a:r>
            <a:endParaRPr lang="en-US" sz="1600" dirty="0" smtClean="0"/>
          </a:p>
          <a:p>
            <a:pPr lvl="1">
              <a:defRPr/>
            </a:pPr>
            <a:r>
              <a:rPr lang="de-DE" dirty="0" smtClean="0"/>
              <a:t>Explain </a:t>
            </a:r>
            <a:endParaRPr lang="en-US" sz="1600" dirty="0" smtClean="0"/>
          </a:p>
          <a:p>
            <a:pPr lvl="1">
              <a:defRPr/>
            </a:pPr>
            <a:r>
              <a:rPr lang="de-DE" dirty="0" smtClean="0"/>
              <a:t>why the information or skill is valuable </a:t>
            </a:r>
            <a:endParaRPr lang="en-US" sz="1600" dirty="0" smtClean="0"/>
          </a:p>
          <a:p>
            <a:pPr lvl="1">
              <a:defRPr/>
            </a:pPr>
            <a:r>
              <a:rPr lang="de-DE" dirty="0" smtClean="0"/>
              <a:t>What the learning objectives are</a:t>
            </a:r>
            <a:endParaRPr lang="en-US" sz="1600" dirty="0" smtClean="0"/>
          </a:p>
          <a:p>
            <a:pPr lvl="1">
              <a:defRPr/>
            </a:pPr>
            <a:r>
              <a:rPr lang="de-DE" dirty="0" smtClean="0"/>
              <a:t>Demonstrate the process followed by participants practicing the skill</a:t>
            </a:r>
            <a:endParaRPr lang="en-US" sz="1600" dirty="0" smtClean="0"/>
          </a:p>
          <a:p>
            <a:pPr lvl="1">
              <a:defRPr/>
            </a:pPr>
            <a:r>
              <a:rPr lang="de-DE" dirty="0" smtClean="0"/>
              <a:t>Connect the learning to actual use and have participants verbally state how they will use it</a:t>
            </a:r>
            <a:endParaRPr lang="en-US" sz="16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6145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udience centered: Kinesthetic, Visual &amp; Auditory Learners</a:t>
            </a:r>
          </a:p>
          <a:p>
            <a:r>
              <a:rPr lang="en-US" dirty="0" smtClean="0"/>
              <a:t>Fun &amp; Engaging:  No one wants to listen to speeche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23801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63550" indent="-463550" eaLnBrk="1" hangingPunct="1">
              <a:lnSpc>
                <a:spcPct val="90000"/>
              </a:lnSpc>
              <a:buSzPct val="90000"/>
              <a:buFont typeface="Wingdings" panose="05000000000000000000" pitchFamily="2" charset="2"/>
              <a:buAutoNum type="arabicPeriod"/>
            </a:pPr>
            <a:r>
              <a:rPr lang="en-US" altLang="en-US" sz="3200" b="1" dirty="0" smtClean="0"/>
              <a:t>Determine purpose</a:t>
            </a:r>
          </a:p>
          <a:p>
            <a:pPr marL="914400" lvl="1" indent="-336550" eaLnBrk="1" hangingPunct="1">
              <a:lnSpc>
                <a:spcPct val="90000"/>
              </a:lnSpc>
            </a:pPr>
            <a:r>
              <a:rPr lang="en-US" altLang="en-US" sz="2800" dirty="0" smtClean="0"/>
              <a:t>What do you want to accomplish?</a:t>
            </a:r>
          </a:p>
          <a:p>
            <a:pPr marL="463550" indent="-463550" eaLnBrk="1" hangingPunct="1">
              <a:lnSpc>
                <a:spcPct val="90000"/>
              </a:lnSpc>
              <a:buSzPct val="90000"/>
              <a:buFont typeface="Wingdings" panose="05000000000000000000" pitchFamily="2" charset="2"/>
              <a:buAutoNum type="arabicPeriod"/>
            </a:pPr>
            <a:r>
              <a:rPr lang="en-US" altLang="en-US" sz="3200" b="1" dirty="0" smtClean="0"/>
              <a:t>Know your audience !!!</a:t>
            </a:r>
          </a:p>
          <a:p>
            <a:pPr marL="914400" lvl="1" indent="-336550" eaLnBrk="1" hangingPunct="1">
              <a:lnSpc>
                <a:spcPct val="90000"/>
              </a:lnSpc>
            </a:pPr>
            <a:r>
              <a:rPr lang="en-US" altLang="en-US" sz="2800" dirty="0" smtClean="0"/>
              <a:t>Success depends on your ability to reach your audience</a:t>
            </a:r>
          </a:p>
          <a:p>
            <a:pPr marL="914400" lvl="1" indent="-336550" eaLnBrk="1" hangingPunct="1">
              <a:lnSpc>
                <a:spcPct val="90000"/>
              </a:lnSpc>
            </a:pPr>
            <a:r>
              <a:rPr lang="en-US" altLang="en-US" sz="2800" dirty="0" smtClean="0"/>
              <a:t>Size</a:t>
            </a:r>
          </a:p>
          <a:p>
            <a:pPr marL="914400" lvl="1" indent="-336550" eaLnBrk="1" hangingPunct="1">
              <a:lnSpc>
                <a:spcPct val="90000"/>
              </a:lnSpc>
            </a:pPr>
            <a:r>
              <a:rPr lang="en-US" altLang="en-US" sz="2800" dirty="0" smtClean="0"/>
              <a:t>Demographics</a:t>
            </a:r>
          </a:p>
          <a:p>
            <a:pPr marL="914400" lvl="1" indent="-336550" eaLnBrk="1" hangingPunct="1">
              <a:lnSpc>
                <a:spcPct val="90000"/>
              </a:lnSpc>
            </a:pPr>
            <a:r>
              <a:rPr lang="en-US" altLang="en-US" sz="2800" dirty="0" smtClean="0"/>
              <a:t>Knowledge level</a:t>
            </a:r>
          </a:p>
          <a:p>
            <a:pPr marL="914400" lvl="1" indent="-336550" eaLnBrk="1" hangingPunct="1">
              <a:lnSpc>
                <a:spcPct val="90000"/>
              </a:lnSpc>
            </a:pPr>
            <a:r>
              <a:rPr lang="en-US" altLang="en-US" sz="2800" dirty="0" smtClean="0"/>
              <a:t>Motivation</a:t>
            </a:r>
          </a:p>
          <a:p>
            <a:pPr marL="914400" lvl="1" indent="-336550" eaLnBrk="1" hangingPunct="1">
              <a:lnSpc>
                <a:spcPct val="90000"/>
              </a:lnSpc>
            </a:pPr>
            <a:r>
              <a:rPr lang="en-US" altLang="en-US" sz="2800" dirty="0" smtClean="0"/>
              <a:t>Why are they attending?</a:t>
            </a:r>
          </a:p>
          <a:p>
            <a:pPr marL="914400" lvl="1" indent="-336550" eaLnBrk="1" hangingPunct="1">
              <a:lnSpc>
                <a:spcPct val="90000"/>
              </a:lnSpc>
            </a:pPr>
            <a:r>
              <a:rPr lang="en-US" altLang="en-US" sz="2800" dirty="0" smtClean="0"/>
              <a:t>What do </a:t>
            </a:r>
            <a:r>
              <a:rPr lang="en-US" altLang="en-US" sz="2800" i="1" dirty="0" smtClean="0"/>
              <a:t>THEY</a:t>
            </a:r>
            <a:r>
              <a:rPr lang="en-US" altLang="en-US" sz="2800" dirty="0" smtClean="0"/>
              <a:t> expect?</a:t>
            </a:r>
          </a:p>
          <a:p>
            <a:endParaRPr lang="en-US" dirty="0" smtClean="0"/>
          </a:p>
          <a:p>
            <a:pPr marL="512763" indent="-512763" eaLnBrk="1" hangingPunct="1">
              <a:buSzPct val="90000"/>
              <a:buFont typeface="Wingdings" panose="05000000000000000000" pitchFamily="2" charset="2"/>
              <a:buAutoNum type="arabicPeriod" startAt="3"/>
            </a:pPr>
            <a:r>
              <a:rPr lang="en-US" altLang="en-US" sz="3200" b="1" dirty="0" smtClean="0"/>
              <a:t>Plan Space</a:t>
            </a:r>
          </a:p>
          <a:p>
            <a:pPr marL="1023938" lvl="1" indent="-396875" eaLnBrk="1" hangingPunct="1"/>
            <a:r>
              <a:rPr lang="en-US" altLang="en-US" sz="2400" dirty="0" smtClean="0"/>
              <a:t>Number of attendees and seats</a:t>
            </a:r>
          </a:p>
          <a:p>
            <a:pPr marL="1023938" lvl="1" indent="-396875" eaLnBrk="1" hangingPunct="1"/>
            <a:r>
              <a:rPr lang="en-US" altLang="en-US" sz="2400" dirty="0" smtClean="0"/>
              <a:t>Seating arrangement</a:t>
            </a:r>
          </a:p>
          <a:p>
            <a:pPr marL="1023938" lvl="1" indent="-396875" eaLnBrk="1" hangingPunct="1"/>
            <a:r>
              <a:rPr lang="en-US" altLang="en-US" sz="2400" dirty="0" smtClean="0"/>
              <a:t>Lighting, and lighting controls</a:t>
            </a:r>
          </a:p>
          <a:p>
            <a:pPr marL="1023938" lvl="1" indent="-396875" eaLnBrk="1" hangingPunct="1"/>
            <a:r>
              <a:rPr lang="en-US" altLang="en-US" sz="2400" dirty="0" smtClean="0"/>
              <a:t>Audio/Visual equipment</a:t>
            </a:r>
          </a:p>
          <a:p>
            <a:pPr marL="1023938" lvl="1" indent="-396875" eaLnBrk="1" hangingPunct="1"/>
            <a:r>
              <a:rPr lang="en-US" altLang="en-US" sz="2400" dirty="0" smtClean="0"/>
              <a:t>Distracters</a:t>
            </a:r>
          </a:p>
          <a:p>
            <a:pPr marL="512763" indent="-512763" eaLnBrk="1" hangingPunct="1">
              <a:buSzPct val="90000"/>
              <a:buFont typeface="Wingdings" panose="05000000000000000000" pitchFamily="2" charset="2"/>
              <a:buAutoNum type="arabicPeriod" startAt="4"/>
            </a:pPr>
            <a:r>
              <a:rPr lang="en-US" altLang="en-US" sz="3200" b="1" dirty="0" smtClean="0"/>
              <a:t>Plan The coordinates</a:t>
            </a:r>
          </a:p>
          <a:p>
            <a:pPr marL="0" indent="0" eaLnBrk="1" hangingPunct="1">
              <a:buSzPct val="90000"/>
              <a:buFont typeface="Wingdings" panose="05000000000000000000" pitchFamily="2" charset="2"/>
              <a:buNone/>
            </a:pPr>
            <a:r>
              <a:rPr lang="en-US" altLang="en-US" sz="3200" dirty="0" smtClean="0"/>
              <a:t>What Day and Time?</a:t>
            </a:r>
          </a:p>
          <a:p>
            <a:pPr marL="1023938" lvl="1" indent="-396875" eaLnBrk="1" hangingPunct="1"/>
            <a:r>
              <a:rPr lang="en-US" altLang="en-US" sz="2400" dirty="0" smtClean="0"/>
              <a:t>Morning</a:t>
            </a:r>
          </a:p>
          <a:p>
            <a:pPr marL="1023938" lvl="1" indent="-396875" eaLnBrk="1" hangingPunct="1"/>
            <a:r>
              <a:rPr lang="en-US" altLang="en-US" sz="2400" dirty="0" smtClean="0"/>
              <a:t>Afternoon</a:t>
            </a:r>
          </a:p>
          <a:p>
            <a:pPr marL="1023938" lvl="1" indent="-396875" eaLnBrk="1" hangingPunct="1"/>
            <a:r>
              <a:rPr lang="en-US" altLang="en-US" sz="2400" dirty="0" smtClean="0"/>
              <a:t>Evening</a:t>
            </a:r>
          </a:p>
          <a:p>
            <a:pPr marL="1023938" lvl="1" indent="-396875" eaLnBrk="1" hangingPunct="1"/>
            <a:r>
              <a:rPr lang="en-US" altLang="en-US" sz="2400" dirty="0" smtClean="0"/>
              <a:t>Work day versus weekend</a:t>
            </a:r>
          </a:p>
          <a:p>
            <a:pPr marL="1023938" lvl="1" indent="-396875" eaLnBrk="1" hangingPunct="1"/>
            <a:r>
              <a:rPr lang="en-US" altLang="en-US" sz="2400" dirty="0" smtClean="0"/>
              <a:t>Any day!</a:t>
            </a:r>
          </a:p>
          <a:p>
            <a:pPr marL="609600" indent="-609600" eaLnBrk="1" hangingPunct="1">
              <a:lnSpc>
                <a:spcPct val="90000"/>
              </a:lnSpc>
              <a:buSzPct val="90000"/>
              <a:buFont typeface="Wingdings" panose="05000000000000000000" pitchFamily="2" charset="2"/>
              <a:buAutoNum type="arabicPeriod" startAt="5"/>
            </a:pPr>
            <a:r>
              <a:rPr lang="en-US" altLang="en-US" sz="2800" b="1" dirty="0" smtClean="0"/>
              <a:t>Organization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Determine main points (1-5)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Evidence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Transitions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Prepare outline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Prepare a Storyboard</a:t>
            </a:r>
          </a:p>
          <a:p>
            <a:pPr marL="609600" indent="-609600" eaLnBrk="1" hangingPunct="1">
              <a:lnSpc>
                <a:spcPct val="90000"/>
              </a:lnSpc>
              <a:buSzPct val="90000"/>
              <a:buFont typeface="Wingdings" panose="05000000000000000000" pitchFamily="2" charset="2"/>
              <a:buAutoNum type="arabicPeriod" startAt="5"/>
            </a:pPr>
            <a:r>
              <a:rPr lang="en-US" altLang="en-US" sz="2800" b="1" dirty="0" smtClean="0"/>
              <a:t>Rehearse…Rehearse…Rehearse!!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In the actual room if possible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Work to a script and time your presentation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Practice Q &amp; A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Check equipment – load your slides in advance</a:t>
            </a:r>
          </a:p>
          <a:p>
            <a:pPr marL="990600" lvl="1" indent="-533400" eaLnBrk="1" hangingPunct="1">
              <a:lnSpc>
                <a:spcPct val="90000"/>
              </a:lnSpc>
            </a:pPr>
            <a:r>
              <a:rPr lang="en-US" altLang="en-US" sz="2400" dirty="0" smtClean="0"/>
              <a:t>Make contingency plan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79926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… relation marked by harmony or affinity</a:t>
            </a:r>
            <a:r>
              <a:rPr lang="en-US" altLang="en-US" sz="2800" dirty="0" smtClean="0"/>
              <a:t> 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Audience members need to trust you and feel that you care about them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Start before you beg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Mingle; learn nam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Opportunity to reinforce or correct audience assessment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Good first impression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People listen to people they like</a:t>
            </a:r>
          </a:p>
          <a:p>
            <a:endParaRPr lang="en-US" dirty="0" smtClean="0"/>
          </a:p>
          <a:p>
            <a:endParaRPr lang="en-US" dirty="0" smtClean="0"/>
          </a:p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Introduce yourself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Why should they listen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Get attention, build more rapport, introduce topic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Humor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Short story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Startling statistic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Make audience think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Invite participation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Get audience response</a:t>
            </a:r>
          </a:p>
          <a:p>
            <a:endParaRPr lang="en-US" dirty="0" smtClean="0"/>
          </a:p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Clearly defining topic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If informative…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Clear parameters for content within time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If persuasive…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What’s the problem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Who car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800" dirty="0" smtClean="0"/>
              <a:t>What’s the solution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3200" dirty="0" smtClean="0"/>
              <a:t>Overview </a:t>
            </a:r>
          </a:p>
          <a:p>
            <a:pPr eaLnBrk="1" hangingPunct="1"/>
            <a:r>
              <a:rPr lang="en-US" altLang="en-US" sz="1600" dirty="0" smtClean="0"/>
              <a:t>Make point-transition,…make point-transition,…make point-transition, etc…</a:t>
            </a:r>
          </a:p>
          <a:p>
            <a:pPr eaLnBrk="1" hangingPunct="1"/>
            <a:r>
              <a:rPr lang="en-US" altLang="en-US" sz="1600" dirty="0" smtClean="0"/>
              <a:t>Supporting evidence</a:t>
            </a:r>
          </a:p>
          <a:p>
            <a:pPr eaLnBrk="1" hangingPunct="1"/>
            <a:r>
              <a:rPr lang="en-US" altLang="en-US" sz="1600" dirty="0" smtClean="0"/>
              <a:t>Examples</a:t>
            </a:r>
          </a:p>
          <a:p>
            <a:pPr eaLnBrk="1" hangingPunct="1"/>
            <a:r>
              <a:rPr lang="en-US" altLang="en-US" sz="1600" dirty="0" smtClean="0"/>
              <a:t>Feedback &amp; questions from audience</a:t>
            </a:r>
          </a:p>
          <a:p>
            <a:pPr eaLnBrk="1" hangingPunct="1"/>
            <a:r>
              <a:rPr lang="en-US" altLang="en-US" sz="1600" dirty="0" smtClean="0"/>
              <a:t>Attention to, and focus on, audience…</a:t>
            </a:r>
            <a:br>
              <a:rPr lang="en-US" altLang="en-US" sz="1600" dirty="0" smtClean="0"/>
            </a:br>
            <a:r>
              <a:rPr lang="en-US" altLang="en-US" sz="1600" dirty="0" smtClean="0"/>
              <a:t>are they listening?</a:t>
            </a:r>
          </a:p>
          <a:p>
            <a:endParaRPr lang="en-US" dirty="0" smtClean="0"/>
          </a:p>
          <a:p>
            <a:pPr eaLnBrk="1" hangingPunct="1">
              <a:buFontTx/>
              <a:buNone/>
            </a:pPr>
            <a:r>
              <a:rPr lang="en-US" altLang="en-US" sz="3200" b="1" i="1" u="sng" dirty="0" smtClean="0"/>
              <a:t>Goal</a:t>
            </a:r>
          </a:p>
          <a:p>
            <a:pPr eaLnBrk="1" hangingPunct="1"/>
            <a:r>
              <a:rPr lang="en-US" altLang="en-US" sz="3200" dirty="0" smtClean="0"/>
              <a:t>Inform audience that you’re about to close</a:t>
            </a:r>
          </a:p>
          <a:p>
            <a:pPr eaLnBrk="1" hangingPunct="1"/>
            <a:r>
              <a:rPr lang="en-US" altLang="en-US" sz="3200" dirty="0" smtClean="0"/>
              <a:t>Summarize main points</a:t>
            </a:r>
          </a:p>
          <a:p>
            <a:pPr lvl="1" eaLnBrk="1" hangingPunct="1"/>
            <a:r>
              <a:rPr lang="en-US" altLang="en-US" sz="2800" dirty="0" smtClean="0">
                <a:solidFill>
                  <a:schemeClr val="tx2"/>
                </a:solidFill>
              </a:rPr>
              <a:t>“Tell ’</a:t>
            </a:r>
            <a:r>
              <a:rPr lang="en-US" altLang="en-US" sz="2800" dirty="0" err="1" smtClean="0">
                <a:solidFill>
                  <a:schemeClr val="tx2"/>
                </a:solidFill>
              </a:rPr>
              <a:t>em</a:t>
            </a:r>
            <a:r>
              <a:rPr lang="en-US" altLang="en-US" sz="2800" dirty="0" smtClean="0">
                <a:solidFill>
                  <a:schemeClr val="tx2"/>
                </a:solidFill>
              </a:rPr>
              <a:t> What You Told ‘</a:t>
            </a:r>
            <a:r>
              <a:rPr lang="en-US" altLang="en-US" sz="2800" dirty="0" err="1" smtClean="0">
                <a:solidFill>
                  <a:schemeClr val="tx2"/>
                </a:solidFill>
              </a:rPr>
              <a:t>em</a:t>
            </a:r>
            <a:r>
              <a:rPr lang="en-US" altLang="en-US" sz="2800" dirty="0" smtClean="0">
                <a:solidFill>
                  <a:schemeClr val="tx2"/>
                </a:solidFill>
              </a:rPr>
              <a:t>.”</a:t>
            </a:r>
            <a:endParaRPr lang="en-US" altLang="en-US" sz="3600" dirty="0" smtClean="0"/>
          </a:p>
          <a:p>
            <a:pPr eaLnBrk="1" hangingPunct="1"/>
            <a:r>
              <a:rPr lang="en-US" altLang="en-US" sz="3200" dirty="0" smtClean="0"/>
              <a:t>Something to remember, or call-to-action</a:t>
            </a:r>
          </a:p>
          <a:p>
            <a:pPr eaLnBrk="1" hangingPunct="1"/>
            <a:r>
              <a:rPr lang="en-US" altLang="en-US" sz="3200" dirty="0" smtClean="0"/>
              <a:t>Answer questions</a:t>
            </a:r>
          </a:p>
          <a:p>
            <a:pPr eaLnBrk="1" hangingPunct="1">
              <a:buFontTx/>
              <a:buNone/>
            </a:pPr>
            <a:r>
              <a:rPr lang="en-US" altLang="en-US" sz="3200" dirty="0" smtClean="0"/>
              <a:t>	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96847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420827DD-C7A4-4C3C-9C71-8AAB126C6628}" type="slidenum">
              <a:rPr lang="en-US" altLang="en-US"/>
              <a:pPr>
                <a:spcBef>
                  <a:spcPct val="0"/>
                </a:spcBef>
              </a:pPr>
              <a:t>8</a:t>
            </a:fld>
            <a:endParaRPr lang="en-US" altLang="en-US"/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1847480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acilitator</a:t>
            </a:r>
            <a:r>
              <a:rPr lang="en-US" baseline="0" dirty="0" smtClean="0"/>
              <a:t> to transition to this slide using the discussion from the previous on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7075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3204569" y="617719"/>
            <a:ext cx="5447168" cy="6323739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627218" y="178287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627218" y="4649058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33062" y="1873253"/>
            <a:ext cx="5820614" cy="2062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 b="1"/>
            </a:lvl1pPr>
          </a:lstStyle>
          <a:p>
            <a:r>
              <a:rPr lang="en-US" dirty="0" smtClean="0"/>
              <a:t>Presentation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45209" y="4003526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2480" y="4331832"/>
            <a:ext cx="1836690" cy="317236"/>
          </a:xfrm>
        </p:spPr>
        <p:txBody>
          <a:bodyPr anchor="ctr">
            <a:noAutofit/>
          </a:bodyPr>
          <a:lstStyle>
            <a:lvl1pPr algn="r"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 smtClean="0"/>
              <a:t>mmmm</a:t>
            </a:r>
            <a:r>
              <a:rPr lang="en-US" dirty="0" smtClean="0"/>
              <a:t> d,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7099113" y="5646269"/>
            <a:ext cx="3017520" cy="1075209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40711" y="5999526"/>
            <a:ext cx="1620838" cy="614362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r>
              <a:rPr lang="en-GB" dirty="0" smtClean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5209" y="4678085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GB" sz="1800" kern="0" dirty="0" smtClean="0">
                <a:solidFill>
                  <a:srgbClr val="939598"/>
                </a:solidFill>
              </a:rPr>
              <a:t>Presenter’s Name</a:t>
            </a:r>
            <a:endParaRPr lang="en-GB" sz="1800" kern="0" dirty="0">
              <a:solidFill>
                <a:srgbClr val="9395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20562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788395"/>
      </p:ext>
    </p:extLst>
  </p:cSld>
  <p:clrMapOvr>
    <a:masterClrMapping/>
  </p:clrMapOvr>
  <p:transition>
    <p:cover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 userDrawn="1"/>
        </p:nvGrpSpPr>
        <p:grpSpPr>
          <a:xfrm>
            <a:off x="1413304" y="1133113"/>
            <a:ext cx="8704728" cy="6420218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2300" y="1816080"/>
            <a:ext cx="5816254" cy="2775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600" b="0"/>
            </a:lvl1pPr>
          </a:lstStyle>
          <a:p>
            <a:r>
              <a:rPr lang="en-US" dirty="0" smtClean="0"/>
              <a:t>Divider 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27218" y="470623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9" name="Rounded Rectangle 8"/>
          <p:cNvSpPr/>
          <p:nvPr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" name="Oval 9"/>
          <p:cNvSpPr/>
          <p:nvPr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1" y="3501948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0356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2" y="3501948"/>
            <a:ext cx="5643922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881964" y="2612263"/>
            <a:ext cx="2806674" cy="2743203"/>
            <a:chOff x="6337326" y="2686956"/>
            <a:chExt cx="2806674" cy="2743203"/>
          </a:xfrm>
        </p:grpSpPr>
        <p:sp>
          <p:nvSpPr>
            <p:cNvPr id="15" name="Freeform 14"/>
            <p:cNvSpPr/>
            <p:nvPr/>
          </p:nvSpPr>
          <p:spPr>
            <a:xfrm>
              <a:off x="6337326" y="2686956"/>
              <a:ext cx="2806674" cy="2743203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rgbClr val="7C6CA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>
              <a:off x="6516216" y="3029834"/>
              <a:ext cx="2627784" cy="2400325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584993" y="2710934"/>
              <a:ext cx="971740" cy="276999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Snapshots</a:t>
              </a:r>
            </a:p>
          </p:txBody>
        </p:sp>
      </p:grpSp>
      <p:sp>
        <p:nvSpPr>
          <p:cNvPr id="18" name="Rounded Rectangle 17"/>
          <p:cNvSpPr/>
          <p:nvPr userDrawn="1"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" name="Rounded Rectangle 22"/>
          <p:cNvSpPr/>
          <p:nvPr userDrawn="1"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Oval 23"/>
          <p:cNvSpPr/>
          <p:nvPr userDrawn="1"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5" name="Oval 24"/>
          <p:cNvSpPr/>
          <p:nvPr userDrawn="1"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7595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22" name="Rounded Rectangle 21"/>
          <p:cNvSpPr/>
          <p:nvPr/>
        </p:nvSpPr>
        <p:spPr>
          <a:xfrm rot="16200000">
            <a:off x="2764188" y="-661743"/>
            <a:ext cx="688893" cy="4966320"/>
          </a:xfrm>
          <a:prstGeom prst="roundRect">
            <a:avLst>
              <a:gd name="adj" fmla="val 50000"/>
            </a:avLst>
          </a:prstGeom>
          <a:solidFill>
            <a:srgbClr val="315E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b"/>
          <a:lstStyle/>
          <a:p>
            <a:pPr algn="ctr"/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 rot="16200000">
            <a:off x="7249028" y="-663954"/>
            <a:ext cx="688893" cy="4970742"/>
          </a:xfrm>
          <a:prstGeom prst="roundRect">
            <a:avLst>
              <a:gd name="adj" fmla="val 50000"/>
            </a:avLst>
          </a:prstGeom>
          <a:solidFill>
            <a:srgbClr val="9D2C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52" dirty="0"/>
          </a:p>
        </p:txBody>
      </p:sp>
      <p:sp>
        <p:nvSpPr>
          <p:cNvPr id="24" name="Oval 23"/>
          <p:cNvSpPr/>
          <p:nvPr/>
        </p:nvSpPr>
        <p:spPr>
          <a:xfrm>
            <a:off x="5004909" y="1476375"/>
            <a:ext cx="690081" cy="690081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200" b="1" dirty="0"/>
          </a:p>
        </p:txBody>
      </p:sp>
      <p:grpSp>
        <p:nvGrpSpPr>
          <p:cNvPr id="36" name="Group 35"/>
          <p:cNvGrpSpPr/>
          <p:nvPr/>
        </p:nvGrpSpPr>
        <p:grpSpPr>
          <a:xfrm>
            <a:off x="1005364" y="2187995"/>
            <a:ext cx="4097357" cy="427269"/>
            <a:chOff x="750570" y="2510473"/>
            <a:chExt cx="3474720" cy="362341"/>
          </a:xfrm>
        </p:grpSpPr>
        <p:cxnSp>
          <p:nvCxnSpPr>
            <p:cNvPr id="38" name="Straight Connector 37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val 38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41" name="Straight Connector 40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Oval 41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5599387" y="2187995"/>
            <a:ext cx="4097358" cy="427269"/>
            <a:chOff x="750570" y="2510473"/>
            <a:chExt cx="3474720" cy="362341"/>
          </a:xfrm>
        </p:grpSpPr>
        <p:cxnSp>
          <p:nvCxnSpPr>
            <p:cNvPr id="31" name="Straight Connector 30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34" name="Straight Connector 33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Oval 34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33362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427386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995891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5925727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767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7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9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30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ags" Target="../tags/tag11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7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787" r:id="rId2"/>
    <p:sldLayoutId id="2147483788" r:id="rId3"/>
    <p:sldLayoutId id="2147483789" r:id="rId4"/>
    <p:sldLayoutId id="2147483790" r:id="rId5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4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16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34" r:id="rId10"/>
    <p:sldLayoutId id="2147483835" r:id="rId1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5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6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88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2" r:id="rId2"/>
    <p:sldLayoutId id="2147483833" r:id="rId3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>
          <p15:clr>
            <a:srgbClr val="F26B43"/>
          </p15:clr>
        </p15:guide>
        <p15:guide id="3" pos="6345">
          <p15:clr>
            <a:srgbClr val="F26B43"/>
          </p15:clr>
        </p15:guide>
        <p15:guide id="4" orient="horz" pos="928">
          <p15:clr>
            <a:srgbClr val="F26B43"/>
          </p15:clr>
        </p15:guide>
        <p15:guide id="5" orient="horz" pos="765">
          <p15:clr>
            <a:srgbClr val="F26B43"/>
          </p15:clr>
        </p15:guide>
        <p15:guide id="6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029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ffective Presentation Skill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1" i="1" dirty="0" smtClean="0"/>
              <a:t>Great presenters aren’t born; they are trained</a:t>
            </a:r>
          </a:p>
          <a:p>
            <a:r>
              <a:rPr lang="en-GB" b="1" i="1" dirty="0"/>
              <a:t>	</a:t>
            </a:r>
            <a:r>
              <a:rPr lang="en-GB" b="1" i="1" dirty="0" smtClean="0"/>
              <a:t>			       ~ Unknown</a:t>
            </a:r>
            <a:endParaRPr lang="en-GB" b="1" i="1" dirty="0"/>
          </a:p>
        </p:txBody>
      </p:sp>
    </p:spTree>
    <p:extLst>
      <p:ext uri="{BB962C8B-B14F-4D97-AF65-F5344CB8AC3E}">
        <p14:creationId xmlns:p14="http://schemas.microsoft.com/office/powerpoint/2010/main" val="1374487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 descr="https://thumbs.dreamstime.com/t/business-woman-presenting-copyspace-isolated-white-background-68791144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972"/>
          <a:stretch/>
        </p:blipFill>
        <p:spPr bwMode="auto">
          <a:xfrm>
            <a:off x="479425" y="2925762"/>
            <a:ext cx="2651207" cy="2103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1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Body Language</a:t>
            </a:r>
            <a:endParaRPr lang="en-US" altLang="en-US" sz="2643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074187791"/>
              </p:ext>
            </p:extLst>
          </p:nvPr>
        </p:nvGraphicFramePr>
        <p:xfrm>
          <a:off x="2276739" y="1401408"/>
          <a:ext cx="7857861" cy="51327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8437" y="6969287"/>
            <a:ext cx="9382557" cy="27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240558"/>
      </p:ext>
    </p:extLst>
  </p:cSld>
  <p:clrMapOvr>
    <a:masterClrMapping/>
  </p:clrMapOvr>
  <p:transition>
    <p:cover dir="r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Common Pitfalls</a:t>
            </a:r>
          </a:p>
        </p:txBody>
      </p:sp>
      <p:sp>
        <p:nvSpPr>
          <p:cNvPr id="5" name="Snip Single Corner Rectangle 4"/>
          <p:cNvSpPr/>
          <p:nvPr/>
        </p:nvSpPr>
        <p:spPr bwMode="auto">
          <a:xfrm>
            <a:off x="2095501" y="1358089"/>
            <a:ext cx="6572250" cy="994128"/>
          </a:xfrm>
          <a:prstGeom prst="snip1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Verbal fillers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- “</a:t>
            </a:r>
            <a:r>
              <a:rPr lang="en-US" sz="1600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Um”, “uh”, “like”, “you guys”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- Any </a:t>
            </a:r>
            <a:r>
              <a:rPr lang="en-US" sz="1600" dirty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unrelated word or </a:t>
            </a:r>
            <a:r>
              <a:rPr lang="en-US" sz="16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phrase</a:t>
            </a:r>
            <a:endParaRPr lang="en-US" sz="1600" dirty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Snip Single Corner Rectangle 5"/>
          <p:cNvSpPr/>
          <p:nvPr/>
        </p:nvSpPr>
        <p:spPr bwMode="auto">
          <a:xfrm>
            <a:off x="2095501" y="2455317"/>
            <a:ext cx="6572250" cy="639533"/>
          </a:xfrm>
          <a:prstGeom prst="snip1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ctr"/>
            <a:r>
              <a:rPr lang="en-US" altLang="en-US" sz="1600" dirty="0">
                <a:solidFill>
                  <a:schemeClr val="bg1"/>
                </a:solidFill>
              </a:rPr>
              <a:t>Swaying, rocking, and </a:t>
            </a:r>
            <a:r>
              <a:rPr lang="en-US" altLang="en-US" sz="1600" dirty="0" smtClean="0">
                <a:solidFill>
                  <a:schemeClr val="bg1"/>
                </a:solidFill>
              </a:rPr>
              <a:t>pacing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7" name="Snip Single Corner Rectangle 6"/>
          <p:cNvSpPr/>
          <p:nvPr/>
        </p:nvSpPr>
        <p:spPr bwMode="auto">
          <a:xfrm>
            <a:off x="2095501" y="3217001"/>
            <a:ext cx="6572250" cy="639533"/>
          </a:xfrm>
          <a:prstGeom prst="snip1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Hands in pockets</a:t>
            </a:r>
            <a:endParaRPr lang="en-US" sz="1600" dirty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nip Single Corner Rectangle 7"/>
          <p:cNvSpPr/>
          <p:nvPr/>
        </p:nvSpPr>
        <p:spPr bwMode="auto">
          <a:xfrm>
            <a:off x="2095501" y="3978685"/>
            <a:ext cx="6572250" cy="639533"/>
          </a:xfrm>
          <a:prstGeom prst="snip1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Use of cell phones</a:t>
            </a:r>
            <a:endParaRPr lang="en-US" sz="1600" dirty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Snip Single Corner Rectangle 8"/>
          <p:cNvSpPr/>
          <p:nvPr/>
        </p:nvSpPr>
        <p:spPr bwMode="auto">
          <a:xfrm>
            <a:off x="2095501" y="4740369"/>
            <a:ext cx="6572250" cy="639533"/>
          </a:xfrm>
          <a:prstGeom prst="snip1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Lip smacking</a:t>
            </a:r>
            <a:endParaRPr lang="en-US" sz="1600" dirty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Snip Single Corner Rectangle 9"/>
          <p:cNvSpPr/>
          <p:nvPr/>
        </p:nvSpPr>
        <p:spPr bwMode="auto">
          <a:xfrm>
            <a:off x="2095501" y="5521419"/>
            <a:ext cx="6572250" cy="639533"/>
          </a:xfrm>
          <a:prstGeom prst="snip1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Fidgeting- with lanyards, markers, etc.</a:t>
            </a:r>
            <a:endParaRPr lang="en-US" sz="1600" dirty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Snip Single Corner Rectangle 10"/>
          <p:cNvSpPr/>
          <p:nvPr/>
        </p:nvSpPr>
        <p:spPr bwMode="auto">
          <a:xfrm>
            <a:off x="2095501" y="6340569"/>
            <a:ext cx="6572250" cy="639533"/>
          </a:xfrm>
          <a:prstGeom prst="snip1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ctr"/>
            <a:r>
              <a:rPr lang="en-US" altLang="en-US" sz="1600" dirty="0">
                <a:solidFill>
                  <a:schemeClr val="bg1"/>
                </a:solidFill>
              </a:rPr>
              <a:t>Failure to be </a:t>
            </a:r>
            <a:r>
              <a:rPr lang="en-US" altLang="en-US" sz="1600" dirty="0" smtClean="0">
                <a:solidFill>
                  <a:schemeClr val="bg1"/>
                </a:solidFill>
              </a:rPr>
              <a:t>audience-centered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082" y="6954387"/>
            <a:ext cx="9382557" cy="27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675314"/>
      </p:ext>
    </p:extLst>
  </p:cSld>
  <p:clrMapOvr>
    <a:masterClrMapping/>
  </p:clrMapOvr>
  <p:transition>
    <p:cover dir="rd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0"/>
          <p:cNvGrpSpPr>
            <a:grpSpLocks/>
          </p:cNvGrpSpPr>
          <p:nvPr/>
        </p:nvGrpSpPr>
        <p:grpSpPr bwMode="auto">
          <a:xfrm>
            <a:off x="3554944" y="2132704"/>
            <a:ext cx="3669210" cy="3846483"/>
            <a:chOff x="1728" y="1305"/>
            <a:chExt cx="1932" cy="2111"/>
          </a:xfrm>
          <a:solidFill>
            <a:schemeClr val="tx2"/>
          </a:solidFill>
        </p:grpSpPr>
        <p:sp>
          <p:nvSpPr>
            <p:cNvPr id="16" name="Arc 8"/>
            <p:cNvSpPr>
              <a:spLocks/>
            </p:cNvSpPr>
            <p:nvPr/>
          </p:nvSpPr>
          <p:spPr bwMode="invGray">
            <a:xfrm>
              <a:off x="2666" y="1305"/>
              <a:ext cx="994" cy="1968"/>
            </a:xfrm>
            <a:custGeom>
              <a:avLst/>
              <a:gdLst>
                <a:gd name="T0" fmla="*/ 0 w 21600"/>
                <a:gd name="T1" fmla="*/ 0 h 42793"/>
                <a:gd name="T2" fmla="*/ 0 w 21600"/>
                <a:gd name="T3" fmla="*/ 0 h 42793"/>
                <a:gd name="T4" fmla="*/ 0 w 21600"/>
                <a:gd name="T5" fmla="*/ 0 h 42793"/>
                <a:gd name="T6" fmla="*/ 0 60000 65536"/>
                <a:gd name="T7" fmla="*/ 0 60000 65536"/>
                <a:gd name="T8" fmla="*/ 0 60000 65536"/>
                <a:gd name="T9" fmla="*/ 0 w 21600"/>
                <a:gd name="T10" fmla="*/ 0 h 42793"/>
                <a:gd name="T11" fmla="*/ 21600 w 21600"/>
                <a:gd name="T12" fmla="*/ 42793 h 4279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2793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1919"/>
                    <a:pt x="14300" y="40798"/>
                    <a:pt x="4174" y="42792"/>
                  </a:cubicBezTo>
                </a:path>
                <a:path w="21600" h="42793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1919"/>
                    <a:pt x="14300" y="40798"/>
                    <a:pt x="4174" y="42792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57150" cmpd="thinThick">
              <a:solidFill>
                <a:schemeClr val="accent2"/>
              </a:solidFill>
              <a:round/>
              <a:headEnd type="stealth" w="med" len="med"/>
              <a:tailEnd/>
            </a:ln>
            <a:extLst/>
          </p:spPr>
          <p:txBody>
            <a:bodyPr wrap="none" anchor="ctr"/>
            <a:lstStyle/>
            <a:p>
              <a:pPr algn="ctr"/>
              <a:endParaRPr lang="en-US" sz="3200" b="1">
                <a:solidFill>
                  <a:schemeClr val="bg1"/>
                </a:solidFill>
              </a:endParaRPr>
            </a:p>
          </p:txBody>
        </p:sp>
        <p:sp>
          <p:nvSpPr>
            <p:cNvPr id="17" name="Arc 9"/>
            <p:cNvSpPr>
              <a:spLocks/>
            </p:cNvSpPr>
            <p:nvPr/>
          </p:nvSpPr>
          <p:spPr bwMode="invGray">
            <a:xfrm flipH="1" flipV="1">
              <a:off x="1728" y="1448"/>
              <a:ext cx="994" cy="1968"/>
            </a:xfrm>
            <a:custGeom>
              <a:avLst/>
              <a:gdLst>
                <a:gd name="T0" fmla="*/ 0 w 21600"/>
                <a:gd name="T1" fmla="*/ 0 h 42793"/>
                <a:gd name="T2" fmla="*/ 0 w 21600"/>
                <a:gd name="T3" fmla="*/ 0 h 42793"/>
                <a:gd name="T4" fmla="*/ 0 w 21600"/>
                <a:gd name="T5" fmla="*/ 0 h 42793"/>
                <a:gd name="T6" fmla="*/ 0 60000 65536"/>
                <a:gd name="T7" fmla="*/ 0 60000 65536"/>
                <a:gd name="T8" fmla="*/ 0 60000 65536"/>
                <a:gd name="T9" fmla="*/ 0 w 21600"/>
                <a:gd name="T10" fmla="*/ 0 h 42793"/>
                <a:gd name="T11" fmla="*/ 21600 w 21600"/>
                <a:gd name="T12" fmla="*/ 42793 h 4279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2793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1919"/>
                    <a:pt x="14300" y="40798"/>
                    <a:pt x="4174" y="42792"/>
                  </a:cubicBezTo>
                </a:path>
                <a:path w="21600" h="42793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1919"/>
                    <a:pt x="14300" y="40798"/>
                    <a:pt x="4174" y="42792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57150" cmpd="thinThick">
              <a:solidFill>
                <a:schemeClr val="accent2"/>
              </a:solidFill>
              <a:round/>
              <a:headEnd type="stealth" w="med" len="med"/>
              <a:tailEnd/>
            </a:ln>
            <a:extLst/>
          </p:spPr>
          <p:txBody>
            <a:bodyPr wrap="none" anchor="ctr"/>
            <a:lstStyle/>
            <a:p>
              <a:pPr algn="ctr"/>
              <a:endParaRPr lang="en-US" sz="3200" b="1">
                <a:solidFill>
                  <a:schemeClr val="bg1"/>
                </a:solidFill>
              </a:endParaRPr>
            </a:p>
          </p:txBody>
        </p:sp>
        <p:sp>
          <p:nvSpPr>
            <p:cNvPr id="18" name="Oval 6"/>
            <p:cNvSpPr>
              <a:spLocks noChangeArrowheads="1"/>
            </p:cNvSpPr>
            <p:nvPr/>
          </p:nvSpPr>
          <p:spPr bwMode="invGray">
            <a:xfrm>
              <a:off x="1776" y="1440"/>
              <a:ext cx="1841" cy="1840"/>
            </a:xfrm>
            <a:prstGeom prst="ellipse">
              <a:avLst/>
            </a:prstGeom>
            <a:grpFill/>
            <a:ln w="76200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Thank you!</a:t>
              </a:r>
              <a:endParaRPr lang="en-US" sz="3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71429" y="6978201"/>
            <a:ext cx="1576337" cy="198251"/>
          </a:xfrm>
        </p:spPr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506463" y="6990324"/>
            <a:ext cx="3384735" cy="186128"/>
          </a:xfrm>
        </p:spPr>
        <p:txBody>
          <a:bodyPr/>
          <a:lstStyle/>
          <a:p>
            <a:r>
              <a:rPr lang="en-US" dirty="0" smtClean="0"/>
              <a:t>©2018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735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our Takeaway/s?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2018 Evalueserve. All rights reserved.</a:t>
            </a:r>
            <a:endParaRPr lang="en-GB" dirty="0"/>
          </a:p>
        </p:txBody>
      </p:sp>
      <p:pic>
        <p:nvPicPr>
          <p:cNvPr id="5" name="Steve Jobs introducing the first iPhone (MacWorld 2007)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332440" y="1504950"/>
            <a:ext cx="8068735" cy="453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1928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 Roadmap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5981319"/>
              </p:ext>
            </p:extLst>
          </p:nvPr>
        </p:nvGraphicFramePr>
        <p:xfrm>
          <a:off x="614322" y="1486667"/>
          <a:ext cx="4513649" cy="4115867"/>
        </p:xfrm>
        <a:graphic>
          <a:graphicData uri="http://schemas.openxmlformats.org/drawingml/2006/table">
            <a:tbl>
              <a:tblPr firstRow="1" bandRow="1"/>
              <a:tblGrid>
                <a:gridCol w="641792"/>
                <a:gridCol w="136597"/>
                <a:gridCol w="3735260"/>
              </a:tblGrid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rgbClr val="EE2653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Why Do We Present</a:t>
                      </a: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An Ideal Presentation</a:t>
                      </a:r>
                      <a:endParaRPr lang="en-IN" sz="1400" b="0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"/>
                        <a:cs typeface="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rgbClr val="47254B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The Prep Work</a:t>
                      </a:r>
                      <a:endParaRPr lang="en-IN" sz="1400" b="0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"/>
                        <a:cs typeface="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rgbClr val="EE2653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Sequencing</a:t>
                      </a:r>
                      <a:endParaRPr lang="en-IN" sz="1400" b="0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"/>
                        <a:cs typeface="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What </a:t>
                      </a:r>
                      <a:r>
                        <a:rPr lang="en-US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M</a:t>
                      </a:r>
                      <a:r>
                        <a:rPr lang="tr-TR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akes an </a:t>
                      </a:r>
                      <a:r>
                        <a:rPr lang="en-US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E</a:t>
                      </a:r>
                      <a:r>
                        <a:rPr lang="tr-TR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ffective </a:t>
                      </a:r>
                      <a:r>
                        <a:rPr lang="en-US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S</a:t>
                      </a:r>
                      <a:r>
                        <a:rPr lang="tr-TR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peaker</a:t>
                      </a:r>
                      <a:r>
                        <a:rPr lang="en-US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?</a:t>
                      </a:r>
                      <a:endParaRPr lang="en-IN" sz="1400" b="0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"/>
                        <a:cs typeface="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rgbClr val="47254B"/>
                          </a:solidFill>
                          <a:latin typeface="+mj-lt"/>
                        </a:rPr>
                        <a:t>06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The Voice</a:t>
                      </a: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rgbClr val="EE2653"/>
                          </a:solidFill>
                          <a:latin typeface="+mj-lt"/>
                        </a:rPr>
                        <a:t>07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400" b="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"/>
                          <a:cs typeface=""/>
                        </a:rPr>
                        <a:t>Present With Conviction</a:t>
                      </a:r>
                      <a:endParaRPr lang="en-IN" sz="1400" b="0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"/>
                        <a:cs typeface="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8 Evalueserve. All rights reserved.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</a:t>
            </a:fld>
            <a:r>
              <a:rPr lang="en-GB" smtClean="0"/>
              <a:t> /  evalueserve.com</a:t>
            </a:r>
            <a:endParaRPr lang="en-GB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971713"/>
              </p:ext>
            </p:extLst>
          </p:nvPr>
        </p:nvGraphicFramePr>
        <p:xfrm>
          <a:off x="5547842" y="1486667"/>
          <a:ext cx="4513649" cy="1763943"/>
        </p:xfrm>
        <a:graphic>
          <a:graphicData uri="http://schemas.openxmlformats.org/drawingml/2006/table">
            <a:tbl>
              <a:tblPr firstRow="1" bandRow="1"/>
              <a:tblGrid>
                <a:gridCol w="641792"/>
                <a:gridCol w="136597"/>
                <a:gridCol w="3735260"/>
              </a:tblGrid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08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Body Language</a:t>
                      </a: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rgbClr val="47254B"/>
                          </a:solidFill>
                          <a:latin typeface="+mj-lt"/>
                        </a:rPr>
                        <a:t>09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Common Pitfalls</a:t>
                      </a: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7981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400" b="1" dirty="0" smtClean="0">
                          <a:solidFill>
                            <a:srgbClr val="EE2653"/>
                          </a:solidFill>
                          <a:latin typeface="+mj-lt"/>
                        </a:rPr>
                        <a:t>10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" b="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Quick Tips</a:t>
                      </a: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957" y="3714750"/>
            <a:ext cx="3028841" cy="3034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653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Do We Presen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2018 Evalueserve. All rights reserved.</a:t>
            </a:r>
            <a:endParaRPr lang="en-GB" dirty="0"/>
          </a:p>
        </p:txBody>
      </p:sp>
      <p:grpSp>
        <p:nvGrpSpPr>
          <p:cNvPr id="5" name="Group 4"/>
          <p:cNvGrpSpPr/>
          <p:nvPr/>
        </p:nvGrpSpPr>
        <p:grpSpPr>
          <a:xfrm>
            <a:off x="668431" y="1610423"/>
            <a:ext cx="1175994" cy="1175994"/>
            <a:chOff x="706531" y="1574633"/>
            <a:chExt cx="1175994" cy="1175994"/>
          </a:xfrm>
        </p:grpSpPr>
        <p:sp>
          <p:nvSpPr>
            <p:cNvPr id="6" name="Oval 5"/>
            <p:cNvSpPr/>
            <p:nvPr/>
          </p:nvSpPr>
          <p:spPr bwMode="auto">
            <a:xfrm>
              <a:off x="706531" y="1574633"/>
              <a:ext cx="1175994" cy="1175994"/>
            </a:xfrm>
            <a:prstGeom prst="ellipse">
              <a:avLst/>
            </a:prstGeom>
            <a:solidFill>
              <a:srgbClr val="EE265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08000" tIns="108000" rIns="108000" bIns="108000" rtlCol="0" anchor="ctr">
              <a:noAutofit/>
            </a:bodyPr>
            <a:lstStyle/>
            <a:p>
              <a:pPr algn="l"/>
              <a:endParaRPr lang="en-US" sz="1400" dirty="0" smtClean="0"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944470" y="1958170"/>
              <a:ext cx="742511" cy="307777"/>
            </a:xfrm>
            <a:prstGeom prst="rect">
              <a:avLst/>
            </a:prstGeom>
            <a:solidFill>
              <a:srgbClr val="EE2653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chemeClr val="bg1"/>
                  </a:solidFill>
                </a:rPr>
                <a:t>Inform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620260" y="5178109"/>
            <a:ext cx="1175994" cy="1175994"/>
            <a:chOff x="2547690" y="4964996"/>
            <a:chExt cx="1175994" cy="1175994"/>
          </a:xfrm>
        </p:grpSpPr>
        <p:sp>
          <p:nvSpPr>
            <p:cNvPr id="9" name="Oval 8"/>
            <p:cNvSpPr/>
            <p:nvPr/>
          </p:nvSpPr>
          <p:spPr bwMode="auto">
            <a:xfrm>
              <a:off x="2547690" y="4964996"/>
              <a:ext cx="1175994" cy="1175994"/>
            </a:xfrm>
            <a:prstGeom prst="ellipse">
              <a:avLst/>
            </a:prstGeom>
            <a:solidFill>
              <a:srgbClr val="47254B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08000" tIns="108000" rIns="108000" bIns="108000" rtlCol="0" anchor="ctr">
              <a:noAutofit/>
            </a:bodyPr>
            <a:lstStyle/>
            <a:p>
              <a:pPr algn="l"/>
              <a:endParaRPr lang="en-US" sz="1400" dirty="0" smtClean="0"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635705" y="5386633"/>
              <a:ext cx="990977" cy="307777"/>
            </a:xfrm>
            <a:prstGeom prst="rect">
              <a:avLst/>
            </a:prstGeom>
            <a:solidFill>
              <a:srgbClr val="47254B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chemeClr val="bg1"/>
                  </a:solidFill>
                </a:rPr>
                <a:t>Persuade</a:t>
              </a:r>
            </a:p>
          </p:txBody>
        </p:sp>
      </p:grpSp>
      <p:sp>
        <p:nvSpPr>
          <p:cNvPr id="11" name="Content Placeholder 45"/>
          <p:cNvSpPr txBox="1">
            <a:spLocks/>
          </p:cNvSpPr>
          <p:nvPr/>
        </p:nvSpPr>
        <p:spPr>
          <a:xfrm>
            <a:off x="1981633" y="1633926"/>
            <a:ext cx="5580310" cy="1395688"/>
          </a:xfrm>
          <a:prstGeom prst="rect">
            <a:avLst/>
          </a:prstGeom>
        </p:spPr>
        <p:txBody>
          <a:bodyPr lIns="0" tIns="0" rIns="0" bIns="0"/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solidFill>
                  <a:schemeClr val="bg2"/>
                </a:solidFill>
              </a:rPr>
              <a:t> Aimed towards increasing knowledge 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solidFill>
                  <a:schemeClr val="bg2"/>
                </a:solidFill>
              </a:rPr>
              <a:t> Brief 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solidFill>
                  <a:schemeClr val="bg2"/>
                </a:solidFill>
              </a:rPr>
              <a:t> Stick to the facts  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solidFill>
                  <a:schemeClr val="bg2"/>
                </a:solidFill>
              </a:rPr>
              <a:t> Explain how, when and where things should happen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solidFill>
                  <a:schemeClr val="bg2"/>
                </a:solidFill>
              </a:rPr>
              <a:t> List items in their order of importance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12" name="Content Placeholder 45"/>
          <p:cNvSpPr txBox="1">
            <a:spLocks/>
          </p:cNvSpPr>
          <p:nvPr/>
        </p:nvSpPr>
        <p:spPr>
          <a:xfrm>
            <a:off x="5574397" y="3462675"/>
            <a:ext cx="4506914" cy="796666"/>
          </a:xfrm>
          <a:prstGeom prst="rect">
            <a:avLst/>
          </a:prstGeom>
        </p:spPr>
        <p:txBody>
          <a:bodyPr lIns="0" tIns="0" rIns="0" bIns="0"/>
          <a:lstStyle/>
          <a:p>
            <a:pPr marL="285750" lvl="1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chemeClr val="bg2"/>
                </a:solidFill>
              </a:rPr>
              <a:t> Give specific directions</a:t>
            </a:r>
          </a:p>
          <a:p>
            <a:pPr marL="285750" lvl="1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de-DE" sz="1400" dirty="0">
                <a:solidFill>
                  <a:schemeClr val="bg2"/>
                </a:solidFill>
              </a:rPr>
              <a:t> Explain  value of the information /skill</a:t>
            </a:r>
          </a:p>
          <a:p>
            <a:pPr marL="285750" lvl="1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de-DE" sz="1400" dirty="0">
                <a:solidFill>
                  <a:schemeClr val="bg2"/>
                </a:solidFill>
              </a:rPr>
              <a:t> Connect the learning to actual use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13" name="Content Placeholder 45"/>
          <p:cNvSpPr txBox="1">
            <a:spLocks/>
          </p:cNvSpPr>
          <p:nvPr/>
        </p:nvSpPr>
        <p:spPr>
          <a:xfrm>
            <a:off x="3933371" y="5643513"/>
            <a:ext cx="6205996" cy="566787"/>
          </a:xfrm>
          <a:prstGeom prst="rect">
            <a:avLst/>
          </a:prstGeom>
        </p:spPr>
        <p:txBody>
          <a:bodyPr lIns="0" tIns="0" rIns="0" bIns="0"/>
          <a:lstStyle/>
          <a:p>
            <a:pPr marL="285750" lvl="1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chemeClr val="bg2"/>
                </a:solidFill>
              </a:rPr>
              <a:t> Offer a solution to a problem</a:t>
            </a:r>
          </a:p>
          <a:p>
            <a:pPr marL="285750" lvl="1" indent="-285750"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chemeClr val="bg2"/>
                </a:solidFill>
              </a:rPr>
              <a:t> Present sufficient logic, </a:t>
            </a:r>
            <a:r>
              <a:rPr lang="en-US" sz="1400" dirty="0" smtClean="0">
                <a:solidFill>
                  <a:schemeClr val="bg2"/>
                </a:solidFill>
              </a:rPr>
              <a:t>evidence </a:t>
            </a:r>
            <a:r>
              <a:rPr lang="en-US" sz="1400" dirty="0">
                <a:solidFill>
                  <a:schemeClr val="bg2"/>
                </a:solidFill>
              </a:rPr>
              <a:t>and emotion to sway the audience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4262781" y="3225127"/>
            <a:ext cx="1175994" cy="1175994"/>
            <a:chOff x="4262781" y="3173241"/>
            <a:chExt cx="1175994" cy="1175994"/>
          </a:xfrm>
        </p:grpSpPr>
        <p:sp>
          <p:nvSpPr>
            <p:cNvPr id="15" name="Oval 14"/>
            <p:cNvSpPr/>
            <p:nvPr/>
          </p:nvSpPr>
          <p:spPr bwMode="auto">
            <a:xfrm>
              <a:off x="4262781" y="3173241"/>
              <a:ext cx="1175994" cy="1175994"/>
            </a:xfrm>
            <a:prstGeom prst="ellipse">
              <a:avLst/>
            </a:prstGeom>
            <a:solidFill>
              <a:srgbClr val="939598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08000" tIns="108000" rIns="108000" bIns="108000" rtlCol="0" anchor="ctr">
              <a:noAutofit/>
            </a:bodyPr>
            <a:lstStyle/>
            <a:p>
              <a:pPr algn="l"/>
              <a:endParaRPr lang="en-US" sz="1400" dirty="0" smtClean="0"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407946" y="3575828"/>
              <a:ext cx="880369" cy="307777"/>
            </a:xfrm>
            <a:prstGeom prst="rect">
              <a:avLst/>
            </a:prstGeom>
            <a:solidFill>
              <a:srgbClr val="939598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chemeClr val="bg1"/>
                  </a:solidFill>
                </a:rPr>
                <a:t>Educate</a:t>
              </a:r>
            </a:p>
          </p:txBody>
        </p:sp>
      </p:grpSp>
      <p:cxnSp>
        <p:nvCxnSpPr>
          <p:cNvPr id="17" name="Straight Connector 16"/>
          <p:cNvCxnSpPr>
            <a:stCxn id="6" idx="4"/>
            <a:endCxn id="9" idx="1"/>
          </p:cNvCxnSpPr>
          <p:nvPr/>
        </p:nvCxnSpPr>
        <p:spPr bwMode="auto">
          <a:xfrm>
            <a:off x="1256428" y="2786417"/>
            <a:ext cx="1536052" cy="256391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>
            <a:stCxn id="15" idx="3"/>
            <a:endCxn id="9" idx="7"/>
          </p:cNvCxnSpPr>
          <p:nvPr/>
        </p:nvCxnSpPr>
        <p:spPr bwMode="auto">
          <a:xfrm flipH="1">
            <a:off x="3624034" y="4228901"/>
            <a:ext cx="810967" cy="112142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01055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deal Present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2018 Evalueserve. All rights reserved.</a:t>
            </a:r>
            <a:endParaRPr lang="en-GB" dirty="0"/>
          </a:p>
        </p:txBody>
      </p:sp>
      <p:grpSp>
        <p:nvGrpSpPr>
          <p:cNvPr id="8" name="Group 7"/>
          <p:cNvGrpSpPr/>
          <p:nvPr/>
        </p:nvGrpSpPr>
        <p:grpSpPr>
          <a:xfrm>
            <a:off x="4247507" y="1613120"/>
            <a:ext cx="6250624" cy="5065400"/>
            <a:chOff x="928363" y="1408065"/>
            <a:chExt cx="7427778" cy="6019344"/>
          </a:xfrm>
        </p:grpSpPr>
        <p:grpSp>
          <p:nvGrpSpPr>
            <p:cNvPr id="12" name="Group 11"/>
            <p:cNvGrpSpPr/>
            <p:nvPr/>
          </p:nvGrpSpPr>
          <p:grpSpPr>
            <a:xfrm>
              <a:off x="928363" y="1408065"/>
              <a:ext cx="7427778" cy="6019344"/>
              <a:chOff x="1318378" y="1535769"/>
              <a:chExt cx="7425572" cy="601755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1318378" y="1535769"/>
                <a:ext cx="7425572" cy="6017556"/>
                <a:chOff x="478390" y="2208172"/>
                <a:chExt cx="4903242" cy="4535985"/>
              </a:xfrm>
            </p:grpSpPr>
            <p:sp>
              <p:nvSpPr>
                <p:cNvPr id="20" name="Freeform 7"/>
                <p:cNvSpPr>
                  <a:spLocks/>
                </p:cNvSpPr>
                <p:nvPr/>
              </p:nvSpPr>
              <p:spPr bwMode="auto">
                <a:xfrm>
                  <a:off x="3478427" y="2495014"/>
                  <a:ext cx="1808274" cy="1561964"/>
                </a:xfrm>
                <a:custGeom>
                  <a:avLst/>
                  <a:gdLst>
                    <a:gd name="T0" fmla="*/ 2147483647 w 855"/>
                    <a:gd name="T1" fmla="*/ 2147483647 h 627"/>
                    <a:gd name="T2" fmla="*/ 2147483647 w 855"/>
                    <a:gd name="T3" fmla="*/ 2147483647 h 627"/>
                    <a:gd name="T4" fmla="*/ 2147483647 w 855"/>
                    <a:gd name="T5" fmla="*/ 2147483647 h 627"/>
                    <a:gd name="T6" fmla="*/ 2147483647 w 855"/>
                    <a:gd name="T7" fmla="*/ 2147483647 h 627"/>
                    <a:gd name="T8" fmla="*/ 2147483647 w 855"/>
                    <a:gd name="T9" fmla="*/ 2147483647 h 627"/>
                    <a:gd name="T10" fmla="*/ 2147483647 w 855"/>
                    <a:gd name="T11" fmla="*/ 2147483647 h 627"/>
                    <a:gd name="T12" fmla="*/ 2147483647 w 855"/>
                    <a:gd name="T13" fmla="*/ 2147483647 h 627"/>
                    <a:gd name="T14" fmla="*/ 2147483647 w 855"/>
                    <a:gd name="T15" fmla="*/ 2147483647 h 627"/>
                    <a:gd name="T16" fmla="*/ 2147483647 w 855"/>
                    <a:gd name="T17" fmla="*/ 2147483647 h 627"/>
                    <a:gd name="T18" fmla="*/ 2147483647 w 855"/>
                    <a:gd name="T19" fmla="*/ 2147483647 h 627"/>
                    <a:gd name="T20" fmla="*/ 2147483647 w 855"/>
                    <a:gd name="T21" fmla="*/ 2147483647 h 627"/>
                    <a:gd name="T22" fmla="*/ 2147483647 w 855"/>
                    <a:gd name="T23" fmla="*/ 2147483647 h 627"/>
                    <a:gd name="T24" fmla="*/ 2147483647 w 855"/>
                    <a:gd name="T25" fmla="*/ 2147483647 h 627"/>
                    <a:gd name="T26" fmla="*/ 2147483647 w 855"/>
                    <a:gd name="T27" fmla="*/ 2147483647 h 627"/>
                    <a:gd name="T28" fmla="*/ 2147483647 w 855"/>
                    <a:gd name="T29" fmla="*/ 2147483647 h 627"/>
                    <a:gd name="T30" fmla="*/ 2147483647 w 855"/>
                    <a:gd name="T31" fmla="*/ 2147483647 h 627"/>
                    <a:gd name="T32" fmla="*/ 2147483647 w 855"/>
                    <a:gd name="T33" fmla="*/ 2147483647 h 627"/>
                    <a:gd name="T34" fmla="*/ 2147483647 w 855"/>
                    <a:gd name="T35" fmla="*/ 2147483647 h 627"/>
                    <a:gd name="T36" fmla="*/ 2147483647 w 855"/>
                    <a:gd name="T37" fmla="*/ 2147483647 h 627"/>
                    <a:gd name="T38" fmla="*/ 0 w 855"/>
                    <a:gd name="T39" fmla="*/ 0 h 627"/>
                    <a:gd name="T40" fmla="*/ 2147483647 w 855"/>
                    <a:gd name="T41" fmla="*/ 2147483647 h 627"/>
                    <a:gd name="T42" fmla="*/ 2147483647 w 855"/>
                    <a:gd name="T43" fmla="*/ 2147483647 h 627"/>
                    <a:gd name="T44" fmla="*/ 2147483647 w 855"/>
                    <a:gd name="T45" fmla="*/ 2147483647 h 627"/>
                    <a:gd name="T46" fmla="*/ 2147483647 w 855"/>
                    <a:gd name="T47" fmla="*/ 2147483647 h 627"/>
                    <a:gd name="T48" fmla="*/ 2147483647 w 855"/>
                    <a:gd name="T49" fmla="*/ 2147483647 h 627"/>
                    <a:gd name="T50" fmla="*/ 2147483647 w 855"/>
                    <a:gd name="T51" fmla="*/ 2147483647 h 627"/>
                    <a:gd name="T52" fmla="*/ 2147483647 w 855"/>
                    <a:gd name="T53" fmla="*/ 2147483647 h 627"/>
                    <a:gd name="T54" fmla="*/ 2147483647 w 855"/>
                    <a:gd name="T55" fmla="*/ 2147483647 h 627"/>
                    <a:gd name="T56" fmla="*/ 2147483647 w 855"/>
                    <a:gd name="T57" fmla="*/ 2147483647 h 627"/>
                    <a:gd name="T58" fmla="*/ 2147483647 w 855"/>
                    <a:gd name="T59" fmla="*/ 2147483647 h 627"/>
                    <a:gd name="T60" fmla="*/ 2147483647 w 855"/>
                    <a:gd name="T61" fmla="*/ 2147483647 h 627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855"/>
                    <a:gd name="T94" fmla="*/ 0 h 627"/>
                    <a:gd name="T95" fmla="*/ 855 w 855"/>
                    <a:gd name="T96" fmla="*/ 627 h 627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855" h="627">
                      <a:moveTo>
                        <a:pt x="190" y="625"/>
                      </a:moveTo>
                      <a:lnTo>
                        <a:pt x="647" y="626"/>
                      </a:lnTo>
                      <a:lnTo>
                        <a:pt x="720" y="512"/>
                      </a:lnTo>
                      <a:lnTo>
                        <a:pt x="788" y="398"/>
                      </a:lnTo>
                      <a:lnTo>
                        <a:pt x="854" y="279"/>
                      </a:lnTo>
                      <a:lnTo>
                        <a:pt x="717" y="351"/>
                      </a:lnTo>
                      <a:lnTo>
                        <a:pt x="682" y="307"/>
                      </a:lnTo>
                      <a:lnTo>
                        <a:pt x="645" y="264"/>
                      </a:lnTo>
                      <a:lnTo>
                        <a:pt x="603" y="224"/>
                      </a:lnTo>
                      <a:lnTo>
                        <a:pt x="558" y="187"/>
                      </a:lnTo>
                      <a:lnTo>
                        <a:pt x="511" y="153"/>
                      </a:lnTo>
                      <a:lnTo>
                        <a:pt x="460" y="122"/>
                      </a:lnTo>
                      <a:lnTo>
                        <a:pt x="408" y="94"/>
                      </a:lnTo>
                      <a:lnTo>
                        <a:pt x="354" y="69"/>
                      </a:lnTo>
                      <a:lnTo>
                        <a:pt x="298" y="49"/>
                      </a:lnTo>
                      <a:lnTo>
                        <a:pt x="240" y="31"/>
                      </a:lnTo>
                      <a:lnTo>
                        <a:pt x="182" y="17"/>
                      </a:lnTo>
                      <a:lnTo>
                        <a:pt x="122" y="7"/>
                      </a:lnTo>
                      <a:lnTo>
                        <a:pt x="61" y="1"/>
                      </a:lnTo>
                      <a:lnTo>
                        <a:pt x="0" y="0"/>
                      </a:lnTo>
                      <a:lnTo>
                        <a:pt x="162" y="181"/>
                      </a:lnTo>
                      <a:lnTo>
                        <a:pt x="62" y="392"/>
                      </a:lnTo>
                      <a:lnTo>
                        <a:pt x="103" y="399"/>
                      </a:lnTo>
                      <a:lnTo>
                        <a:pt x="143" y="411"/>
                      </a:lnTo>
                      <a:lnTo>
                        <a:pt x="182" y="426"/>
                      </a:lnTo>
                      <a:lnTo>
                        <a:pt x="218" y="444"/>
                      </a:lnTo>
                      <a:lnTo>
                        <a:pt x="253" y="466"/>
                      </a:lnTo>
                      <a:lnTo>
                        <a:pt x="285" y="490"/>
                      </a:lnTo>
                      <a:lnTo>
                        <a:pt x="315" y="516"/>
                      </a:lnTo>
                      <a:lnTo>
                        <a:pt x="343" y="545"/>
                      </a:lnTo>
                      <a:lnTo>
                        <a:pt x="190" y="625"/>
                      </a:lnTo>
                    </a:path>
                  </a:pathLst>
                </a:custGeom>
                <a:solidFill>
                  <a:srgbClr val="AF2349"/>
                </a:solidFill>
                <a:ln w="635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21" name="Freeform 6"/>
                <p:cNvSpPr>
                  <a:spLocks/>
                </p:cNvSpPr>
                <p:nvPr/>
              </p:nvSpPr>
              <p:spPr bwMode="auto">
                <a:xfrm>
                  <a:off x="478390" y="2208172"/>
                  <a:ext cx="3321880" cy="1700441"/>
                </a:xfrm>
                <a:custGeom>
                  <a:avLst/>
                  <a:gdLst>
                    <a:gd name="T0" fmla="*/ 0 w 1699"/>
                    <a:gd name="T1" fmla="*/ 2147483647 h 716"/>
                    <a:gd name="T2" fmla="*/ 2147483647 w 1699"/>
                    <a:gd name="T3" fmla="*/ 2147483647 h 716"/>
                    <a:gd name="T4" fmla="*/ 2147483647 w 1699"/>
                    <a:gd name="T5" fmla="*/ 2147483647 h 716"/>
                    <a:gd name="T6" fmla="*/ 2147483647 w 1699"/>
                    <a:gd name="T7" fmla="*/ 2147483647 h 716"/>
                    <a:gd name="T8" fmla="*/ 2147483647 w 1699"/>
                    <a:gd name="T9" fmla="*/ 2147483647 h 716"/>
                    <a:gd name="T10" fmla="*/ 2147483647 w 1699"/>
                    <a:gd name="T11" fmla="*/ 2147483647 h 716"/>
                    <a:gd name="T12" fmla="*/ 2147483647 w 1699"/>
                    <a:gd name="T13" fmla="*/ 2147483647 h 716"/>
                    <a:gd name="T14" fmla="*/ 2147483647 w 1699"/>
                    <a:gd name="T15" fmla="*/ 2147483647 h 716"/>
                    <a:gd name="T16" fmla="*/ 2147483647 w 1699"/>
                    <a:gd name="T17" fmla="*/ 2147483647 h 716"/>
                    <a:gd name="T18" fmla="*/ 2147483647 w 1699"/>
                    <a:gd name="T19" fmla="*/ 2147483647 h 716"/>
                    <a:gd name="T20" fmla="*/ 2147483647 w 1699"/>
                    <a:gd name="T21" fmla="*/ 2147483647 h 716"/>
                    <a:gd name="T22" fmla="*/ 2147483647 w 1699"/>
                    <a:gd name="T23" fmla="*/ 2147483647 h 716"/>
                    <a:gd name="T24" fmla="*/ 2147483647 w 1699"/>
                    <a:gd name="T25" fmla="*/ 2147483647 h 716"/>
                    <a:gd name="T26" fmla="*/ 2147483647 w 1699"/>
                    <a:gd name="T27" fmla="*/ 2147483647 h 716"/>
                    <a:gd name="T28" fmla="*/ 2147483647 w 1699"/>
                    <a:gd name="T29" fmla="*/ 0 h 716"/>
                    <a:gd name="T30" fmla="*/ 2147483647 w 1699"/>
                    <a:gd name="T31" fmla="*/ 2147483647 h 716"/>
                    <a:gd name="T32" fmla="*/ 0 w 1699"/>
                    <a:gd name="T33" fmla="*/ 2147483647 h 716"/>
                    <a:gd name="T34" fmla="*/ 0 w 1699"/>
                    <a:gd name="T35" fmla="*/ 2147483647 h 71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699"/>
                    <a:gd name="T55" fmla="*/ 0 h 716"/>
                    <a:gd name="T56" fmla="*/ 1699 w 1699"/>
                    <a:gd name="T57" fmla="*/ 716 h 716"/>
                    <a:gd name="connsiteX0" fmla="*/ 0 w 9994"/>
                    <a:gd name="connsiteY0" fmla="*/ 7863 h 10014"/>
                    <a:gd name="connsiteX1" fmla="*/ 6068 w 9994"/>
                    <a:gd name="connsiteY1" fmla="*/ 7863 h 10014"/>
                    <a:gd name="connsiteX2" fmla="*/ 7034 w 9994"/>
                    <a:gd name="connsiteY2" fmla="*/ 9986 h 10014"/>
                    <a:gd name="connsiteX3" fmla="*/ 7363 w 9994"/>
                    <a:gd name="connsiteY3" fmla="*/ 9050 h 10014"/>
                    <a:gd name="connsiteX4" fmla="*/ 7552 w 9994"/>
                    <a:gd name="connsiteY4" fmla="*/ 8617 h 10014"/>
                    <a:gd name="connsiteX5" fmla="*/ 7752 w 9994"/>
                    <a:gd name="connsiteY5" fmla="*/ 8240 h 10014"/>
                    <a:gd name="connsiteX6" fmla="*/ 7952 w 9994"/>
                    <a:gd name="connsiteY6" fmla="*/ 7933 h 10014"/>
                    <a:gd name="connsiteX7" fmla="*/ 8158 w 9994"/>
                    <a:gd name="connsiteY7" fmla="*/ 7682 h 10014"/>
                    <a:gd name="connsiteX8" fmla="*/ 8387 w 9994"/>
                    <a:gd name="connsiteY8" fmla="*/ 7472 h 10014"/>
                    <a:gd name="connsiteX9" fmla="*/ 8611 w 9994"/>
                    <a:gd name="connsiteY9" fmla="*/ 7304 h 10014"/>
                    <a:gd name="connsiteX10" fmla="*/ 8846 w 9994"/>
                    <a:gd name="connsiteY10" fmla="*/ 7179 h 10014"/>
                    <a:gd name="connsiteX11" fmla="*/ 8988 w 9994"/>
                    <a:gd name="connsiteY11" fmla="*/ 9218 h 10014"/>
                    <a:gd name="connsiteX12" fmla="*/ 9994 w 9994"/>
                    <a:gd name="connsiteY12" fmla="*/ 4288 h 10014"/>
                    <a:gd name="connsiteX13" fmla="*/ 8481 w 9994"/>
                    <a:gd name="connsiteY13" fmla="*/ 0 h 10014"/>
                    <a:gd name="connsiteX14" fmla="*/ 8487 w 9994"/>
                    <a:gd name="connsiteY14" fmla="*/ 1774 h 10014"/>
                    <a:gd name="connsiteX15" fmla="*/ 0 w 9994"/>
                    <a:gd name="connsiteY15" fmla="*/ 1774 h 10014"/>
                    <a:gd name="connsiteX16" fmla="*/ 0 w 9994"/>
                    <a:gd name="connsiteY16" fmla="*/ 7863 h 10014"/>
                    <a:gd name="connsiteX0" fmla="*/ 0 w 10000"/>
                    <a:gd name="connsiteY0" fmla="*/ 7852 h 9981"/>
                    <a:gd name="connsiteX1" fmla="*/ 6072 w 10000"/>
                    <a:gd name="connsiteY1" fmla="*/ 7852 h 9981"/>
                    <a:gd name="connsiteX2" fmla="*/ 7038 w 10000"/>
                    <a:gd name="connsiteY2" fmla="*/ 9972 h 9981"/>
                    <a:gd name="connsiteX3" fmla="*/ 7557 w 10000"/>
                    <a:gd name="connsiteY3" fmla="*/ 8605 h 9981"/>
                    <a:gd name="connsiteX4" fmla="*/ 7757 w 10000"/>
                    <a:gd name="connsiteY4" fmla="*/ 8228 h 9981"/>
                    <a:gd name="connsiteX5" fmla="*/ 7957 w 10000"/>
                    <a:gd name="connsiteY5" fmla="*/ 7922 h 9981"/>
                    <a:gd name="connsiteX6" fmla="*/ 8163 w 10000"/>
                    <a:gd name="connsiteY6" fmla="*/ 7671 h 9981"/>
                    <a:gd name="connsiteX7" fmla="*/ 8392 w 10000"/>
                    <a:gd name="connsiteY7" fmla="*/ 7462 h 9981"/>
                    <a:gd name="connsiteX8" fmla="*/ 8616 w 10000"/>
                    <a:gd name="connsiteY8" fmla="*/ 7294 h 9981"/>
                    <a:gd name="connsiteX9" fmla="*/ 8851 w 10000"/>
                    <a:gd name="connsiteY9" fmla="*/ 7169 h 9981"/>
                    <a:gd name="connsiteX10" fmla="*/ 8993 w 10000"/>
                    <a:gd name="connsiteY10" fmla="*/ 9205 h 9981"/>
                    <a:gd name="connsiteX11" fmla="*/ 10000 w 10000"/>
                    <a:gd name="connsiteY11" fmla="*/ 4282 h 9981"/>
                    <a:gd name="connsiteX12" fmla="*/ 8486 w 10000"/>
                    <a:gd name="connsiteY12" fmla="*/ 0 h 9981"/>
                    <a:gd name="connsiteX13" fmla="*/ 8492 w 10000"/>
                    <a:gd name="connsiteY13" fmla="*/ 1772 h 9981"/>
                    <a:gd name="connsiteX14" fmla="*/ 0 w 10000"/>
                    <a:gd name="connsiteY14" fmla="*/ 1772 h 9981"/>
                    <a:gd name="connsiteX15" fmla="*/ 0 w 10000"/>
                    <a:gd name="connsiteY15" fmla="*/ 7852 h 9981"/>
                    <a:gd name="connsiteX0" fmla="*/ 0 w 10000"/>
                    <a:gd name="connsiteY0" fmla="*/ 7867 h 9992"/>
                    <a:gd name="connsiteX1" fmla="*/ 6072 w 10000"/>
                    <a:gd name="connsiteY1" fmla="*/ 7867 h 9992"/>
                    <a:gd name="connsiteX2" fmla="*/ 7038 w 10000"/>
                    <a:gd name="connsiteY2" fmla="*/ 9991 h 9992"/>
                    <a:gd name="connsiteX3" fmla="*/ 7757 w 10000"/>
                    <a:gd name="connsiteY3" fmla="*/ 8244 h 9992"/>
                    <a:gd name="connsiteX4" fmla="*/ 7957 w 10000"/>
                    <a:gd name="connsiteY4" fmla="*/ 7937 h 9992"/>
                    <a:gd name="connsiteX5" fmla="*/ 8163 w 10000"/>
                    <a:gd name="connsiteY5" fmla="*/ 7686 h 9992"/>
                    <a:gd name="connsiteX6" fmla="*/ 8392 w 10000"/>
                    <a:gd name="connsiteY6" fmla="*/ 7476 h 9992"/>
                    <a:gd name="connsiteX7" fmla="*/ 8616 w 10000"/>
                    <a:gd name="connsiteY7" fmla="*/ 7308 h 9992"/>
                    <a:gd name="connsiteX8" fmla="*/ 8851 w 10000"/>
                    <a:gd name="connsiteY8" fmla="*/ 7183 h 9992"/>
                    <a:gd name="connsiteX9" fmla="*/ 8993 w 10000"/>
                    <a:gd name="connsiteY9" fmla="*/ 9223 h 9992"/>
                    <a:gd name="connsiteX10" fmla="*/ 10000 w 10000"/>
                    <a:gd name="connsiteY10" fmla="*/ 4290 h 9992"/>
                    <a:gd name="connsiteX11" fmla="*/ 8486 w 10000"/>
                    <a:gd name="connsiteY11" fmla="*/ 0 h 9992"/>
                    <a:gd name="connsiteX12" fmla="*/ 8492 w 10000"/>
                    <a:gd name="connsiteY12" fmla="*/ 1775 h 9992"/>
                    <a:gd name="connsiteX13" fmla="*/ 0 w 10000"/>
                    <a:gd name="connsiteY13" fmla="*/ 1775 h 9992"/>
                    <a:gd name="connsiteX14" fmla="*/ 0 w 10000"/>
                    <a:gd name="connsiteY14" fmla="*/ 7867 h 9992"/>
                    <a:gd name="connsiteX0" fmla="*/ 0 w 10000"/>
                    <a:gd name="connsiteY0" fmla="*/ 7873 h 9999"/>
                    <a:gd name="connsiteX1" fmla="*/ 6072 w 10000"/>
                    <a:gd name="connsiteY1" fmla="*/ 7873 h 9999"/>
                    <a:gd name="connsiteX2" fmla="*/ 7038 w 10000"/>
                    <a:gd name="connsiteY2" fmla="*/ 9999 h 9999"/>
                    <a:gd name="connsiteX3" fmla="*/ 7957 w 10000"/>
                    <a:gd name="connsiteY3" fmla="*/ 7943 h 9999"/>
                    <a:gd name="connsiteX4" fmla="*/ 8163 w 10000"/>
                    <a:gd name="connsiteY4" fmla="*/ 7692 h 9999"/>
                    <a:gd name="connsiteX5" fmla="*/ 8392 w 10000"/>
                    <a:gd name="connsiteY5" fmla="*/ 7482 h 9999"/>
                    <a:gd name="connsiteX6" fmla="*/ 8616 w 10000"/>
                    <a:gd name="connsiteY6" fmla="*/ 7314 h 9999"/>
                    <a:gd name="connsiteX7" fmla="*/ 8851 w 10000"/>
                    <a:gd name="connsiteY7" fmla="*/ 7189 h 9999"/>
                    <a:gd name="connsiteX8" fmla="*/ 8993 w 10000"/>
                    <a:gd name="connsiteY8" fmla="*/ 9230 h 9999"/>
                    <a:gd name="connsiteX9" fmla="*/ 10000 w 10000"/>
                    <a:gd name="connsiteY9" fmla="*/ 4293 h 9999"/>
                    <a:gd name="connsiteX10" fmla="*/ 8486 w 10000"/>
                    <a:gd name="connsiteY10" fmla="*/ 0 h 9999"/>
                    <a:gd name="connsiteX11" fmla="*/ 8492 w 10000"/>
                    <a:gd name="connsiteY11" fmla="*/ 1776 h 9999"/>
                    <a:gd name="connsiteX12" fmla="*/ 0 w 10000"/>
                    <a:gd name="connsiteY12" fmla="*/ 1776 h 9999"/>
                    <a:gd name="connsiteX13" fmla="*/ 0 w 10000"/>
                    <a:gd name="connsiteY13" fmla="*/ 7873 h 9999"/>
                    <a:gd name="connsiteX0" fmla="*/ 0 w 10000"/>
                    <a:gd name="connsiteY0" fmla="*/ 7874 h 10000"/>
                    <a:gd name="connsiteX1" fmla="*/ 6072 w 10000"/>
                    <a:gd name="connsiteY1" fmla="*/ 7874 h 10000"/>
                    <a:gd name="connsiteX2" fmla="*/ 7038 w 10000"/>
                    <a:gd name="connsiteY2" fmla="*/ 10000 h 10000"/>
                    <a:gd name="connsiteX3" fmla="*/ 8163 w 10000"/>
                    <a:gd name="connsiteY3" fmla="*/ 7693 h 10000"/>
                    <a:gd name="connsiteX4" fmla="*/ 8392 w 10000"/>
                    <a:gd name="connsiteY4" fmla="*/ 7483 h 10000"/>
                    <a:gd name="connsiteX5" fmla="*/ 8616 w 10000"/>
                    <a:gd name="connsiteY5" fmla="*/ 7315 h 10000"/>
                    <a:gd name="connsiteX6" fmla="*/ 8851 w 10000"/>
                    <a:gd name="connsiteY6" fmla="*/ 7190 h 10000"/>
                    <a:gd name="connsiteX7" fmla="*/ 8993 w 10000"/>
                    <a:gd name="connsiteY7" fmla="*/ 9231 h 10000"/>
                    <a:gd name="connsiteX8" fmla="*/ 10000 w 10000"/>
                    <a:gd name="connsiteY8" fmla="*/ 4293 h 10000"/>
                    <a:gd name="connsiteX9" fmla="*/ 8486 w 10000"/>
                    <a:gd name="connsiteY9" fmla="*/ 0 h 10000"/>
                    <a:gd name="connsiteX10" fmla="*/ 8492 w 10000"/>
                    <a:gd name="connsiteY10" fmla="*/ 1776 h 10000"/>
                    <a:gd name="connsiteX11" fmla="*/ 0 w 10000"/>
                    <a:gd name="connsiteY11" fmla="*/ 1776 h 10000"/>
                    <a:gd name="connsiteX12" fmla="*/ 0 w 10000"/>
                    <a:gd name="connsiteY12" fmla="*/ 7874 h 10000"/>
                    <a:gd name="connsiteX0" fmla="*/ 0 w 10000"/>
                    <a:gd name="connsiteY0" fmla="*/ 7874 h 10000"/>
                    <a:gd name="connsiteX1" fmla="*/ 6072 w 10000"/>
                    <a:gd name="connsiteY1" fmla="*/ 7874 h 10000"/>
                    <a:gd name="connsiteX2" fmla="*/ 7038 w 10000"/>
                    <a:gd name="connsiteY2" fmla="*/ 10000 h 10000"/>
                    <a:gd name="connsiteX3" fmla="*/ 8392 w 10000"/>
                    <a:gd name="connsiteY3" fmla="*/ 7483 h 10000"/>
                    <a:gd name="connsiteX4" fmla="*/ 8616 w 10000"/>
                    <a:gd name="connsiteY4" fmla="*/ 7315 h 10000"/>
                    <a:gd name="connsiteX5" fmla="*/ 8851 w 10000"/>
                    <a:gd name="connsiteY5" fmla="*/ 7190 h 10000"/>
                    <a:gd name="connsiteX6" fmla="*/ 8993 w 10000"/>
                    <a:gd name="connsiteY6" fmla="*/ 9231 h 10000"/>
                    <a:gd name="connsiteX7" fmla="*/ 10000 w 10000"/>
                    <a:gd name="connsiteY7" fmla="*/ 4293 h 10000"/>
                    <a:gd name="connsiteX8" fmla="*/ 8486 w 10000"/>
                    <a:gd name="connsiteY8" fmla="*/ 0 h 10000"/>
                    <a:gd name="connsiteX9" fmla="*/ 8492 w 10000"/>
                    <a:gd name="connsiteY9" fmla="*/ 1776 h 10000"/>
                    <a:gd name="connsiteX10" fmla="*/ 0 w 10000"/>
                    <a:gd name="connsiteY10" fmla="*/ 1776 h 10000"/>
                    <a:gd name="connsiteX11" fmla="*/ 0 w 10000"/>
                    <a:gd name="connsiteY11" fmla="*/ 7874 h 10000"/>
                    <a:gd name="connsiteX0" fmla="*/ 0 w 10000"/>
                    <a:gd name="connsiteY0" fmla="*/ 7874 h 10000"/>
                    <a:gd name="connsiteX1" fmla="*/ 6072 w 10000"/>
                    <a:gd name="connsiteY1" fmla="*/ 7874 h 10000"/>
                    <a:gd name="connsiteX2" fmla="*/ 7038 w 10000"/>
                    <a:gd name="connsiteY2" fmla="*/ 10000 h 10000"/>
                    <a:gd name="connsiteX3" fmla="*/ 8616 w 10000"/>
                    <a:gd name="connsiteY3" fmla="*/ 7315 h 10000"/>
                    <a:gd name="connsiteX4" fmla="*/ 8851 w 10000"/>
                    <a:gd name="connsiteY4" fmla="*/ 7190 h 10000"/>
                    <a:gd name="connsiteX5" fmla="*/ 8993 w 10000"/>
                    <a:gd name="connsiteY5" fmla="*/ 9231 h 10000"/>
                    <a:gd name="connsiteX6" fmla="*/ 10000 w 10000"/>
                    <a:gd name="connsiteY6" fmla="*/ 4293 h 10000"/>
                    <a:gd name="connsiteX7" fmla="*/ 8486 w 10000"/>
                    <a:gd name="connsiteY7" fmla="*/ 0 h 10000"/>
                    <a:gd name="connsiteX8" fmla="*/ 8492 w 10000"/>
                    <a:gd name="connsiteY8" fmla="*/ 1776 h 10000"/>
                    <a:gd name="connsiteX9" fmla="*/ 0 w 10000"/>
                    <a:gd name="connsiteY9" fmla="*/ 1776 h 10000"/>
                    <a:gd name="connsiteX10" fmla="*/ 0 w 10000"/>
                    <a:gd name="connsiteY10" fmla="*/ 7874 h 10000"/>
                    <a:gd name="connsiteX0" fmla="*/ 0 w 10000"/>
                    <a:gd name="connsiteY0" fmla="*/ 7874 h 10000"/>
                    <a:gd name="connsiteX1" fmla="*/ 6072 w 10000"/>
                    <a:gd name="connsiteY1" fmla="*/ 7874 h 10000"/>
                    <a:gd name="connsiteX2" fmla="*/ 7038 w 10000"/>
                    <a:gd name="connsiteY2" fmla="*/ 10000 h 10000"/>
                    <a:gd name="connsiteX3" fmla="*/ 8851 w 10000"/>
                    <a:gd name="connsiteY3" fmla="*/ 7190 h 10000"/>
                    <a:gd name="connsiteX4" fmla="*/ 8993 w 10000"/>
                    <a:gd name="connsiteY4" fmla="*/ 9231 h 10000"/>
                    <a:gd name="connsiteX5" fmla="*/ 10000 w 10000"/>
                    <a:gd name="connsiteY5" fmla="*/ 4293 h 10000"/>
                    <a:gd name="connsiteX6" fmla="*/ 8486 w 10000"/>
                    <a:gd name="connsiteY6" fmla="*/ 0 h 10000"/>
                    <a:gd name="connsiteX7" fmla="*/ 8492 w 10000"/>
                    <a:gd name="connsiteY7" fmla="*/ 1776 h 10000"/>
                    <a:gd name="connsiteX8" fmla="*/ 0 w 10000"/>
                    <a:gd name="connsiteY8" fmla="*/ 1776 h 10000"/>
                    <a:gd name="connsiteX9" fmla="*/ 0 w 10000"/>
                    <a:gd name="connsiteY9" fmla="*/ 7874 h 10000"/>
                    <a:gd name="connsiteX0" fmla="*/ 0 w 10000"/>
                    <a:gd name="connsiteY0" fmla="*/ 7874 h 10000"/>
                    <a:gd name="connsiteX1" fmla="*/ 6072 w 10000"/>
                    <a:gd name="connsiteY1" fmla="*/ 7874 h 10000"/>
                    <a:gd name="connsiteX2" fmla="*/ 7038 w 10000"/>
                    <a:gd name="connsiteY2" fmla="*/ 10000 h 10000"/>
                    <a:gd name="connsiteX3" fmla="*/ 8851 w 10000"/>
                    <a:gd name="connsiteY3" fmla="*/ 7190 h 10000"/>
                    <a:gd name="connsiteX4" fmla="*/ 8993 w 10000"/>
                    <a:gd name="connsiteY4" fmla="*/ 9231 h 10000"/>
                    <a:gd name="connsiteX5" fmla="*/ 10000 w 10000"/>
                    <a:gd name="connsiteY5" fmla="*/ 4293 h 10000"/>
                    <a:gd name="connsiteX6" fmla="*/ 8486 w 10000"/>
                    <a:gd name="connsiteY6" fmla="*/ 0 h 10000"/>
                    <a:gd name="connsiteX7" fmla="*/ 8492 w 10000"/>
                    <a:gd name="connsiteY7" fmla="*/ 1776 h 10000"/>
                    <a:gd name="connsiteX8" fmla="*/ 0 w 10000"/>
                    <a:gd name="connsiteY8" fmla="*/ 1776 h 10000"/>
                    <a:gd name="connsiteX9" fmla="*/ 0 w 10000"/>
                    <a:gd name="connsiteY9" fmla="*/ 7874 h 10000"/>
                    <a:gd name="connsiteX0" fmla="*/ 0 w 10000"/>
                    <a:gd name="connsiteY0" fmla="*/ 7874 h 9529"/>
                    <a:gd name="connsiteX1" fmla="*/ 6072 w 10000"/>
                    <a:gd name="connsiteY1" fmla="*/ 7874 h 9529"/>
                    <a:gd name="connsiteX2" fmla="*/ 6809 w 10000"/>
                    <a:gd name="connsiteY2" fmla="*/ 9529 h 9529"/>
                    <a:gd name="connsiteX3" fmla="*/ 8851 w 10000"/>
                    <a:gd name="connsiteY3" fmla="*/ 7190 h 9529"/>
                    <a:gd name="connsiteX4" fmla="*/ 8993 w 10000"/>
                    <a:gd name="connsiteY4" fmla="*/ 9231 h 9529"/>
                    <a:gd name="connsiteX5" fmla="*/ 10000 w 10000"/>
                    <a:gd name="connsiteY5" fmla="*/ 4293 h 9529"/>
                    <a:gd name="connsiteX6" fmla="*/ 8486 w 10000"/>
                    <a:gd name="connsiteY6" fmla="*/ 0 h 9529"/>
                    <a:gd name="connsiteX7" fmla="*/ 8492 w 10000"/>
                    <a:gd name="connsiteY7" fmla="*/ 1776 h 9529"/>
                    <a:gd name="connsiteX8" fmla="*/ 0 w 10000"/>
                    <a:gd name="connsiteY8" fmla="*/ 1776 h 9529"/>
                    <a:gd name="connsiteX9" fmla="*/ 0 w 10000"/>
                    <a:gd name="connsiteY9" fmla="*/ 7874 h 9529"/>
                    <a:gd name="connsiteX0" fmla="*/ 0 w 10000"/>
                    <a:gd name="connsiteY0" fmla="*/ 8263 h 10000"/>
                    <a:gd name="connsiteX1" fmla="*/ 6072 w 10000"/>
                    <a:gd name="connsiteY1" fmla="*/ 8263 h 10000"/>
                    <a:gd name="connsiteX2" fmla="*/ 6809 w 10000"/>
                    <a:gd name="connsiteY2" fmla="*/ 10000 h 10000"/>
                    <a:gd name="connsiteX3" fmla="*/ 8851 w 10000"/>
                    <a:gd name="connsiteY3" fmla="*/ 7545 h 10000"/>
                    <a:gd name="connsiteX4" fmla="*/ 8993 w 10000"/>
                    <a:gd name="connsiteY4" fmla="*/ 9687 h 10000"/>
                    <a:gd name="connsiteX5" fmla="*/ 10000 w 10000"/>
                    <a:gd name="connsiteY5" fmla="*/ 4505 h 10000"/>
                    <a:gd name="connsiteX6" fmla="*/ 8486 w 10000"/>
                    <a:gd name="connsiteY6" fmla="*/ 0 h 10000"/>
                    <a:gd name="connsiteX7" fmla="*/ 8492 w 10000"/>
                    <a:gd name="connsiteY7" fmla="*/ 1864 h 10000"/>
                    <a:gd name="connsiteX8" fmla="*/ 0 w 10000"/>
                    <a:gd name="connsiteY8" fmla="*/ 1864 h 10000"/>
                    <a:gd name="connsiteX9" fmla="*/ 0 w 10000"/>
                    <a:gd name="connsiteY9" fmla="*/ 8263 h 10000"/>
                    <a:gd name="connsiteX0" fmla="*/ 0 w 10000"/>
                    <a:gd name="connsiteY0" fmla="*/ 8263 h 10028"/>
                    <a:gd name="connsiteX1" fmla="*/ 6072 w 10000"/>
                    <a:gd name="connsiteY1" fmla="*/ 8263 h 10028"/>
                    <a:gd name="connsiteX2" fmla="*/ 6709 w 10000"/>
                    <a:gd name="connsiteY2" fmla="*/ 10028 h 10028"/>
                    <a:gd name="connsiteX3" fmla="*/ 8851 w 10000"/>
                    <a:gd name="connsiteY3" fmla="*/ 7545 h 10028"/>
                    <a:gd name="connsiteX4" fmla="*/ 8993 w 10000"/>
                    <a:gd name="connsiteY4" fmla="*/ 9687 h 10028"/>
                    <a:gd name="connsiteX5" fmla="*/ 10000 w 10000"/>
                    <a:gd name="connsiteY5" fmla="*/ 4505 h 10028"/>
                    <a:gd name="connsiteX6" fmla="*/ 8486 w 10000"/>
                    <a:gd name="connsiteY6" fmla="*/ 0 h 10028"/>
                    <a:gd name="connsiteX7" fmla="*/ 8492 w 10000"/>
                    <a:gd name="connsiteY7" fmla="*/ 1864 h 10028"/>
                    <a:gd name="connsiteX8" fmla="*/ 0 w 10000"/>
                    <a:gd name="connsiteY8" fmla="*/ 1864 h 10028"/>
                    <a:gd name="connsiteX9" fmla="*/ 0 w 10000"/>
                    <a:gd name="connsiteY9" fmla="*/ 8263 h 10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000" h="10028">
                      <a:moveTo>
                        <a:pt x="0" y="8263"/>
                      </a:moveTo>
                      <a:lnTo>
                        <a:pt x="6072" y="8263"/>
                      </a:lnTo>
                      <a:lnTo>
                        <a:pt x="6709" y="10028"/>
                      </a:lnTo>
                      <a:cubicBezTo>
                        <a:pt x="7522" y="7396"/>
                        <a:pt x="8525" y="7680"/>
                        <a:pt x="8851" y="7545"/>
                      </a:cubicBezTo>
                      <a:cubicBezTo>
                        <a:pt x="8898" y="8259"/>
                        <a:pt x="8946" y="8973"/>
                        <a:pt x="8993" y="9687"/>
                      </a:cubicBezTo>
                      <a:lnTo>
                        <a:pt x="10000" y="4505"/>
                      </a:lnTo>
                      <a:lnTo>
                        <a:pt x="8486" y="0"/>
                      </a:lnTo>
                      <a:cubicBezTo>
                        <a:pt x="8488" y="620"/>
                        <a:pt x="8490" y="1243"/>
                        <a:pt x="8492" y="1864"/>
                      </a:cubicBezTo>
                      <a:lnTo>
                        <a:pt x="0" y="1864"/>
                      </a:lnTo>
                      <a:lnTo>
                        <a:pt x="0" y="8263"/>
                      </a:lnTo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 w="635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100" dirty="0">
                    <a:latin typeface="+mj-lt"/>
                  </a:endParaRPr>
                </a:p>
              </p:txBody>
            </p:sp>
            <p:sp>
              <p:nvSpPr>
                <p:cNvPr id="22" name="Freeform 8"/>
                <p:cNvSpPr>
                  <a:spLocks/>
                </p:cNvSpPr>
                <p:nvPr/>
              </p:nvSpPr>
              <p:spPr bwMode="auto">
                <a:xfrm>
                  <a:off x="3995952" y="3650234"/>
                  <a:ext cx="1385680" cy="1875358"/>
                </a:xfrm>
                <a:custGeom>
                  <a:avLst/>
                  <a:gdLst>
                    <a:gd name="T0" fmla="*/ 2147483647 w 656"/>
                    <a:gd name="T1" fmla="*/ 2147483647 h 753"/>
                    <a:gd name="T2" fmla="*/ 2147483647 w 656"/>
                    <a:gd name="T3" fmla="*/ 2147483647 h 753"/>
                    <a:gd name="T4" fmla="*/ 2147483647 w 656"/>
                    <a:gd name="T5" fmla="*/ 2147483647 h 753"/>
                    <a:gd name="T6" fmla="*/ 2147483647 w 656"/>
                    <a:gd name="T7" fmla="*/ 2147483647 h 753"/>
                    <a:gd name="T8" fmla="*/ 2147483647 w 656"/>
                    <a:gd name="T9" fmla="*/ 2147483647 h 753"/>
                    <a:gd name="T10" fmla="*/ 2147483647 w 656"/>
                    <a:gd name="T11" fmla="*/ 2147483647 h 753"/>
                    <a:gd name="T12" fmla="*/ 2147483647 w 656"/>
                    <a:gd name="T13" fmla="*/ 2147483647 h 753"/>
                    <a:gd name="T14" fmla="*/ 2147483647 w 656"/>
                    <a:gd name="T15" fmla="*/ 2147483647 h 753"/>
                    <a:gd name="T16" fmla="*/ 2147483647 w 656"/>
                    <a:gd name="T17" fmla="*/ 2147483647 h 753"/>
                    <a:gd name="T18" fmla="*/ 2147483647 w 656"/>
                    <a:gd name="T19" fmla="*/ 2147483647 h 753"/>
                    <a:gd name="T20" fmla="*/ 2147483647 w 656"/>
                    <a:gd name="T21" fmla="*/ 2147483647 h 753"/>
                    <a:gd name="T22" fmla="*/ 2147483647 w 656"/>
                    <a:gd name="T23" fmla="*/ 2147483647 h 753"/>
                    <a:gd name="T24" fmla="*/ 2147483647 w 656"/>
                    <a:gd name="T25" fmla="*/ 2147483647 h 753"/>
                    <a:gd name="T26" fmla="*/ 2147483647 w 656"/>
                    <a:gd name="T27" fmla="*/ 2147483647 h 753"/>
                    <a:gd name="T28" fmla="*/ 2147483647 w 656"/>
                    <a:gd name="T29" fmla="*/ 2147483647 h 753"/>
                    <a:gd name="T30" fmla="*/ 2147483647 w 656"/>
                    <a:gd name="T31" fmla="*/ 0 h 753"/>
                    <a:gd name="T32" fmla="*/ 2147483647 w 656"/>
                    <a:gd name="T33" fmla="*/ 2147483647 h 753"/>
                    <a:gd name="T34" fmla="*/ 2147483647 w 656"/>
                    <a:gd name="T35" fmla="*/ 2147483647 h 753"/>
                    <a:gd name="T36" fmla="*/ 2147483647 w 656"/>
                    <a:gd name="T37" fmla="*/ 2147483647 h 753"/>
                    <a:gd name="T38" fmla="*/ 2147483647 w 656"/>
                    <a:gd name="T39" fmla="*/ 2147483647 h 753"/>
                    <a:gd name="T40" fmla="*/ 2147483647 w 656"/>
                    <a:gd name="T41" fmla="*/ 2147483647 h 753"/>
                    <a:gd name="T42" fmla="*/ 2147483647 w 656"/>
                    <a:gd name="T43" fmla="*/ 2147483647 h 753"/>
                    <a:gd name="T44" fmla="*/ 2147483647 w 656"/>
                    <a:gd name="T45" fmla="*/ 2147483647 h 753"/>
                    <a:gd name="T46" fmla="*/ 2147483647 w 656"/>
                    <a:gd name="T47" fmla="*/ 2147483647 h 753"/>
                    <a:gd name="T48" fmla="*/ 2147483647 w 656"/>
                    <a:gd name="T49" fmla="*/ 2147483647 h 753"/>
                    <a:gd name="T50" fmla="*/ 2147483647 w 656"/>
                    <a:gd name="T51" fmla="*/ 2147483647 h 753"/>
                    <a:gd name="T52" fmla="*/ 0 w 656"/>
                    <a:gd name="T53" fmla="*/ 2147483647 h 753"/>
                    <a:gd name="T54" fmla="*/ 2147483647 w 656"/>
                    <a:gd name="T55" fmla="*/ 2147483647 h 7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656"/>
                    <a:gd name="T85" fmla="*/ 0 h 753"/>
                    <a:gd name="T86" fmla="*/ 656 w 656"/>
                    <a:gd name="T87" fmla="*/ 753 h 7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656" h="753">
                      <a:moveTo>
                        <a:pt x="202" y="752"/>
                      </a:moveTo>
                      <a:lnTo>
                        <a:pt x="655" y="744"/>
                      </a:lnTo>
                      <a:lnTo>
                        <a:pt x="514" y="671"/>
                      </a:lnTo>
                      <a:lnTo>
                        <a:pt x="541" y="623"/>
                      </a:lnTo>
                      <a:lnTo>
                        <a:pt x="564" y="573"/>
                      </a:lnTo>
                      <a:lnTo>
                        <a:pt x="584" y="523"/>
                      </a:lnTo>
                      <a:lnTo>
                        <a:pt x="596" y="470"/>
                      </a:lnTo>
                      <a:lnTo>
                        <a:pt x="608" y="417"/>
                      </a:lnTo>
                      <a:lnTo>
                        <a:pt x="614" y="364"/>
                      </a:lnTo>
                      <a:lnTo>
                        <a:pt x="616" y="311"/>
                      </a:lnTo>
                      <a:lnTo>
                        <a:pt x="614" y="257"/>
                      </a:lnTo>
                      <a:lnTo>
                        <a:pt x="607" y="204"/>
                      </a:lnTo>
                      <a:lnTo>
                        <a:pt x="596" y="151"/>
                      </a:lnTo>
                      <a:lnTo>
                        <a:pt x="582" y="99"/>
                      </a:lnTo>
                      <a:lnTo>
                        <a:pt x="562" y="49"/>
                      </a:lnTo>
                      <a:lnTo>
                        <a:pt x="539" y="0"/>
                      </a:lnTo>
                      <a:lnTo>
                        <a:pt x="419" y="193"/>
                      </a:lnTo>
                      <a:lnTo>
                        <a:pt x="160" y="189"/>
                      </a:lnTo>
                      <a:lnTo>
                        <a:pt x="171" y="224"/>
                      </a:lnTo>
                      <a:lnTo>
                        <a:pt x="178" y="261"/>
                      </a:lnTo>
                      <a:lnTo>
                        <a:pt x="181" y="298"/>
                      </a:lnTo>
                      <a:lnTo>
                        <a:pt x="180" y="335"/>
                      </a:lnTo>
                      <a:lnTo>
                        <a:pt x="176" y="372"/>
                      </a:lnTo>
                      <a:lnTo>
                        <a:pt x="167" y="408"/>
                      </a:lnTo>
                      <a:lnTo>
                        <a:pt x="156" y="444"/>
                      </a:lnTo>
                      <a:lnTo>
                        <a:pt x="139" y="477"/>
                      </a:lnTo>
                      <a:lnTo>
                        <a:pt x="0" y="409"/>
                      </a:lnTo>
                      <a:lnTo>
                        <a:pt x="202" y="752"/>
                      </a:lnTo>
                    </a:path>
                  </a:pathLst>
                </a:custGeom>
                <a:solidFill>
                  <a:srgbClr val="AF5E90"/>
                </a:solidFill>
                <a:ln w="635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+mj-lt"/>
                  </a:endParaRPr>
                </a:p>
              </p:txBody>
            </p:sp>
            <p:sp>
              <p:nvSpPr>
                <p:cNvPr id="23" name="Freeform 9"/>
                <p:cNvSpPr>
                  <a:spLocks/>
                </p:cNvSpPr>
                <p:nvPr/>
              </p:nvSpPr>
              <p:spPr bwMode="auto">
                <a:xfrm>
                  <a:off x="3123203" y="5027163"/>
                  <a:ext cx="1815930" cy="1716994"/>
                </a:xfrm>
                <a:custGeom>
                  <a:avLst/>
                  <a:gdLst>
                    <a:gd name="T0" fmla="*/ 0 w 860"/>
                    <a:gd name="T1" fmla="*/ 2147483647 h 690"/>
                    <a:gd name="T2" fmla="*/ 2147483647 w 860"/>
                    <a:gd name="T3" fmla="*/ 2147483647 h 690"/>
                    <a:gd name="T4" fmla="*/ 2147483647 w 860"/>
                    <a:gd name="T5" fmla="*/ 2147483647 h 690"/>
                    <a:gd name="T6" fmla="*/ 2147483647 w 860"/>
                    <a:gd name="T7" fmla="*/ 2147483647 h 690"/>
                    <a:gd name="T8" fmla="*/ 2147483647 w 860"/>
                    <a:gd name="T9" fmla="*/ 2147483647 h 690"/>
                    <a:gd name="T10" fmla="*/ 2147483647 w 860"/>
                    <a:gd name="T11" fmla="*/ 2147483647 h 690"/>
                    <a:gd name="T12" fmla="*/ 2147483647 w 860"/>
                    <a:gd name="T13" fmla="*/ 2147483647 h 690"/>
                    <a:gd name="T14" fmla="*/ 2147483647 w 860"/>
                    <a:gd name="T15" fmla="*/ 2147483647 h 690"/>
                    <a:gd name="T16" fmla="*/ 2147483647 w 860"/>
                    <a:gd name="T17" fmla="*/ 2147483647 h 690"/>
                    <a:gd name="T18" fmla="*/ 2147483647 w 860"/>
                    <a:gd name="T19" fmla="*/ 2147483647 h 690"/>
                    <a:gd name="T20" fmla="*/ 2147483647 w 860"/>
                    <a:gd name="T21" fmla="*/ 2147483647 h 690"/>
                    <a:gd name="T22" fmla="*/ 2147483647 w 860"/>
                    <a:gd name="T23" fmla="*/ 2147483647 h 690"/>
                    <a:gd name="T24" fmla="*/ 2147483647 w 860"/>
                    <a:gd name="T25" fmla="*/ 2147483647 h 690"/>
                    <a:gd name="T26" fmla="*/ 2147483647 w 860"/>
                    <a:gd name="T27" fmla="*/ 2147483647 h 690"/>
                    <a:gd name="T28" fmla="*/ 2147483647 w 860"/>
                    <a:gd name="T29" fmla="*/ 2147483647 h 690"/>
                    <a:gd name="T30" fmla="*/ 2147483647 w 860"/>
                    <a:gd name="T31" fmla="*/ 2147483647 h 690"/>
                    <a:gd name="T32" fmla="*/ 2147483647 w 860"/>
                    <a:gd name="T33" fmla="*/ 2147483647 h 690"/>
                    <a:gd name="T34" fmla="*/ 2147483647 w 860"/>
                    <a:gd name="T35" fmla="*/ 2147483647 h 690"/>
                    <a:gd name="T36" fmla="*/ 2147483647 w 860"/>
                    <a:gd name="T37" fmla="*/ 2147483647 h 690"/>
                    <a:gd name="T38" fmla="*/ 2147483647 w 860"/>
                    <a:gd name="T39" fmla="*/ 2147483647 h 690"/>
                    <a:gd name="T40" fmla="*/ 2147483647 w 860"/>
                    <a:gd name="T41" fmla="*/ 2147483647 h 690"/>
                    <a:gd name="T42" fmla="*/ 2147483647 w 860"/>
                    <a:gd name="T43" fmla="*/ 2147483647 h 690"/>
                    <a:gd name="T44" fmla="*/ 2147483647 w 860"/>
                    <a:gd name="T45" fmla="*/ 2147483647 h 690"/>
                    <a:gd name="T46" fmla="*/ 2147483647 w 860"/>
                    <a:gd name="T47" fmla="*/ 2147483647 h 690"/>
                    <a:gd name="T48" fmla="*/ 2147483647 w 860"/>
                    <a:gd name="T49" fmla="*/ 2147483647 h 690"/>
                    <a:gd name="T50" fmla="*/ 2147483647 w 860"/>
                    <a:gd name="T51" fmla="*/ 2147483647 h 690"/>
                    <a:gd name="T52" fmla="*/ 2147483647 w 860"/>
                    <a:gd name="T53" fmla="*/ 0 h 690"/>
                    <a:gd name="T54" fmla="*/ 0 w 860"/>
                    <a:gd name="T55" fmla="*/ 2147483647 h 69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60"/>
                    <a:gd name="T85" fmla="*/ 0 h 690"/>
                    <a:gd name="T86" fmla="*/ 860 w 860"/>
                    <a:gd name="T87" fmla="*/ 690 h 69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60" h="690">
                      <a:moveTo>
                        <a:pt x="0" y="344"/>
                      </a:moveTo>
                      <a:lnTo>
                        <a:pt x="215" y="689"/>
                      </a:lnTo>
                      <a:lnTo>
                        <a:pt x="215" y="531"/>
                      </a:lnTo>
                      <a:lnTo>
                        <a:pt x="272" y="526"/>
                      </a:lnTo>
                      <a:lnTo>
                        <a:pt x="330" y="517"/>
                      </a:lnTo>
                      <a:lnTo>
                        <a:pt x="387" y="506"/>
                      </a:lnTo>
                      <a:lnTo>
                        <a:pt x="442" y="491"/>
                      </a:lnTo>
                      <a:lnTo>
                        <a:pt x="496" y="472"/>
                      </a:lnTo>
                      <a:lnTo>
                        <a:pt x="549" y="451"/>
                      </a:lnTo>
                      <a:lnTo>
                        <a:pt x="599" y="426"/>
                      </a:lnTo>
                      <a:lnTo>
                        <a:pt x="650" y="399"/>
                      </a:lnTo>
                      <a:lnTo>
                        <a:pt x="695" y="367"/>
                      </a:lnTo>
                      <a:lnTo>
                        <a:pt x="741" y="334"/>
                      </a:lnTo>
                      <a:lnTo>
                        <a:pt x="783" y="297"/>
                      </a:lnTo>
                      <a:lnTo>
                        <a:pt x="823" y="257"/>
                      </a:lnTo>
                      <a:lnTo>
                        <a:pt x="859" y="217"/>
                      </a:lnTo>
                      <a:lnTo>
                        <a:pt x="598" y="229"/>
                      </a:lnTo>
                      <a:lnTo>
                        <a:pt x="480" y="23"/>
                      </a:lnTo>
                      <a:lnTo>
                        <a:pt x="456" y="44"/>
                      </a:lnTo>
                      <a:lnTo>
                        <a:pt x="429" y="64"/>
                      </a:lnTo>
                      <a:lnTo>
                        <a:pt x="397" y="83"/>
                      </a:lnTo>
                      <a:lnTo>
                        <a:pt x="364" y="102"/>
                      </a:lnTo>
                      <a:lnTo>
                        <a:pt x="328" y="116"/>
                      </a:lnTo>
                      <a:lnTo>
                        <a:pt x="292" y="128"/>
                      </a:lnTo>
                      <a:lnTo>
                        <a:pt x="255" y="137"/>
                      </a:lnTo>
                      <a:lnTo>
                        <a:pt x="215" y="143"/>
                      </a:lnTo>
                      <a:lnTo>
                        <a:pt x="215" y="0"/>
                      </a:lnTo>
                      <a:lnTo>
                        <a:pt x="0" y="344"/>
                      </a:lnTo>
                    </a:path>
                  </a:pathLst>
                </a:custGeom>
                <a:solidFill>
                  <a:srgbClr val="315EA5"/>
                </a:solidFill>
                <a:ln w="635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ysClr val="windowText" lastClr="000000"/>
                    </a:solidFill>
                    <a:latin typeface="+mj-lt"/>
                  </a:endParaRPr>
                </a:p>
              </p:txBody>
            </p:sp>
            <p:sp>
              <p:nvSpPr>
                <p:cNvPr id="24" name="Freeform 10"/>
                <p:cNvSpPr>
                  <a:spLocks/>
                </p:cNvSpPr>
                <p:nvPr/>
              </p:nvSpPr>
              <p:spPr bwMode="auto">
                <a:xfrm>
                  <a:off x="1590535" y="4813789"/>
                  <a:ext cx="1722530" cy="1533626"/>
                </a:xfrm>
                <a:custGeom>
                  <a:avLst/>
                  <a:gdLst>
                    <a:gd name="T0" fmla="*/ 2147483647 w 816"/>
                    <a:gd name="T1" fmla="*/ 0 h 616"/>
                    <a:gd name="T2" fmla="*/ 0 w 816"/>
                    <a:gd name="T3" fmla="*/ 2147483647 h 616"/>
                    <a:gd name="T4" fmla="*/ 2147483647 w 816"/>
                    <a:gd name="T5" fmla="*/ 2147483647 h 616"/>
                    <a:gd name="T6" fmla="*/ 2147483647 w 816"/>
                    <a:gd name="T7" fmla="*/ 2147483647 h 616"/>
                    <a:gd name="T8" fmla="*/ 2147483647 w 816"/>
                    <a:gd name="T9" fmla="*/ 2147483647 h 616"/>
                    <a:gd name="T10" fmla="*/ 2147483647 w 816"/>
                    <a:gd name="T11" fmla="*/ 2147483647 h 616"/>
                    <a:gd name="T12" fmla="*/ 2147483647 w 816"/>
                    <a:gd name="T13" fmla="*/ 2147483647 h 616"/>
                    <a:gd name="T14" fmla="*/ 2147483647 w 816"/>
                    <a:gd name="T15" fmla="*/ 2147483647 h 616"/>
                    <a:gd name="T16" fmla="*/ 2147483647 w 816"/>
                    <a:gd name="T17" fmla="*/ 2147483647 h 616"/>
                    <a:gd name="T18" fmla="*/ 2147483647 w 816"/>
                    <a:gd name="T19" fmla="*/ 2147483647 h 616"/>
                    <a:gd name="T20" fmla="*/ 2147483647 w 816"/>
                    <a:gd name="T21" fmla="*/ 2147483647 h 616"/>
                    <a:gd name="T22" fmla="*/ 2147483647 w 816"/>
                    <a:gd name="T23" fmla="*/ 2147483647 h 616"/>
                    <a:gd name="T24" fmla="*/ 2147483647 w 816"/>
                    <a:gd name="T25" fmla="*/ 2147483647 h 616"/>
                    <a:gd name="T26" fmla="*/ 2147483647 w 816"/>
                    <a:gd name="T27" fmla="*/ 2147483647 h 616"/>
                    <a:gd name="T28" fmla="*/ 2147483647 w 816"/>
                    <a:gd name="T29" fmla="*/ 2147483647 h 616"/>
                    <a:gd name="T30" fmla="*/ 2147483647 w 816"/>
                    <a:gd name="T31" fmla="*/ 2147483647 h 616"/>
                    <a:gd name="T32" fmla="*/ 2147483647 w 816"/>
                    <a:gd name="T33" fmla="*/ 2147483647 h 616"/>
                    <a:gd name="T34" fmla="*/ 2147483647 w 816"/>
                    <a:gd name="T35" fmla="*/ 2147483647 h 616"/>
                    <a:gd name="T36" fmla="*/ 2147483647 w 816"/>
                    <a:gd name="T37" fmla="*/ 2147483647 h 616"/>
                    <a:gd name="T38" fmla="*/ 2147483647 w 816"/>
                    <a:gd name="T39" fmla="*/ 2147483647 h 616"/>
                    <a:gd name="T40" fmla="*/ 2147483647 w 816"/>
                    <a:gd name="T41" fmla="*/ 2147483647 h 616"/>
                    <a:gd name="T42" fmla="*/ 2147483647 w 816"/>
                    <a:gd name="T43" fmla="*/ 2147483647 h 616"/>
                    <a:gd name="T44" fmla="*/ 2147483647 w 816"/>
                    <a:gd name="T45" fmla="*/ 2147483647 h 616"/>
                    <a:gd name="T46" fmla="*/ 2147483647 w 816"/>
                    <a:gd name="T47" fmla="*/ 2147483647 h 616"/>
                    <a:gd name="T48" fmla="*/ 2147483647 w 816"/>
                    <a:gd name="T49" fmla="*/ 2147483647 h 616"/>
                    <a:gd name="T50" fmla="*/ 2147483647 w 816"/>
                    <a:gd name="T51" fmla="*/ 0 h 61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816"/>
                    <a:gd name="T79" fmla="*/ 0 h 616"/>
                    <a:gd name="T80" fmla="*/ 816 w 816"/>
                    <a:gd name="T81" fmla="*/ 616 h 61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816" h="616">
                      <a:moveTo>
                        <a:pt x="286" y="0"/>
                      </a:moveTo>
                      <a:lnTo>
                        <a:pt x="0" y="310"/>
                      </a:lnTo>
                      <a:lnTo>
                        <a:pt x="159" y="257"/>
                      </a:lnTo>
                      <a:lnTo>
                        <a:pt x="193" y="303"/>
                      </a:lnTo>
                      <a:lnTo>
                        <a:pt x="232" y="345"/>
                      </a:lnTo>
                      <a:lnTo>
                        <a:pt x="272" y="385"/>
                      </a:lnTo>
                      <a:lnTo>
                        <a:pt x="315" y="422"/>
                      </a:lnTo>
                      <a:lnTo>
                        <a:pt x="362" y="457"/>
                      </a:lnTo>
                      <a:lnTo>
                        <a:pt x="411" y="488"/>
                      </a:lnTo>
                      <a:lnTo>
                        <a:pt x="463" y="517"/>
                      </a:lnTo>
                      <a:lnTo>
                        <a:pt x="515" y="542"/>
                      </a:lnTo>
                      <a:lnTo>
                        <a:pt x="572" y="564"/>
                      </a:lnTo>
                      <a:lnTo>
                        <a:pt x="628" y="582"/>
                      </a:lnTo>
                      <a:lnTo>
                        <a:pt x="688" y="597"/>
                      </a:lnTo>
                      <a:lnTo>
                        <a:pt x="746" y="607"/>
                      </a:lnTo>
                      <a:lnTo>
                        <a:pt x="806" y="615"/>
                      </a:lnTo>
                      <a:lnTo>
                        <a:pt x="689" y="435"/>
                      </a:lnTo>
                      <a:lnTo>
                        <a:pt x="815" y="225"/>
                      </a:lnTo>
                      <a:lnTo>
                        <a:pt x="772" y="217"/>
                      </a:lnTo>
                      <a:lnTo>
                        <a:pt x="731" y="205"/>
                      </a:lnTo>
                      <a:lnTo>
                        <a:pt x="690" y="188"/>
                      </a:lnTo>
                      <a:lnTo>
                        <a:pt x="653" y="169"/>
                      </a:lnTo>
                      <a:lnTo>
                        <a:pt x="617" y="145"/>
                      </a:lnTo>
                      <a:lnTo>
                        <a:pt x="585" y="120"/>
                      </a:lnTo>
                      <a:lnTo>
                        <a:pt x="721" y="74"/>
                      </a:lnTo>
                      <a:lnTo>
                        <a:pt x="286" y="0"/>
                      </a:lnTo>
                    </a:path>
                  </a:pathLst>
                </a:custGeom>
                <a:solidFill>
                  <a:schemeClr val="bg2"/>
                </a:solidFill>
                <a:ln w="6350" cap="rnd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+mj-lt"/>
                  </a:endParaRPr>
                </a:p>
              </p:txBody>
            </p:sp>
          </p:grpSp>
          <p:sp>
            <p:nvSpPr>
              <p:cNvPr id="14" name="TextBox 13"/>
              <p:cNvSpPr txBox="1"/>
              <p:nvPr/>
            </p:nvSpPr>
            <p:spPr>
              <a:xfrm>
                <a:off x="1598102" y="2388955"/>
                <a:ext cx="4122746" cy="3656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b="1" dirty="0" smtClean="0">
                    <a:solidFill>
                      <a:schemeClr val="bg1"/>
                    </a:solidFill>
                    <a:latin typeface="+mj-lt"/>
                  </a:rPr>
                  <a:t>Audience centered</a:t>
                </a:r>
                <a:endParaRPr lang="en-US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6367544" y="2751716"/>
                <a:ext cx="1817312" cy="6215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400" b="1" dirty="0" smtClean="0">
                    <a:solidFill>
                      <a:schemeClr val="bg1"/>
                    </a:solidFill>
                    <a:latin typeface="+mj-lt"/>
                  </a:rPr>
                  <a:t>Accomplishes the objective</a:t>
                </a:r>
                <a:endParaRPr lang="en-US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7287517" y="4432590"/>
                <a:ext cx="1418106" cy="8775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 smtClean="0">
                    <a:solidFill>
                      <a:schemeClr val="bg1"/>
                    </a:solidFill>
                    <a:latin typeface="+mj-lt"/>
                  </a:rPr>
                  <a:t>Fun &amp; Engaging </a:t>
                </a:r>
                <a:endParaRPr lang="en-US" sz="1400" dirty="0">
                  <a:solidFill>
                    <a:schemeClr val="bg1"/>
                  </a:solidFill>
                  <a:latin typeface="+mj-lt"/>
                </a:endParaRPr>
              </a:p>
              <a:p>
                <a:pPr algn="l"/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5791980" y="6108249"/>
                <a:ext cx="1694669" cy="3656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400" b="1" dirty="0" smtClean="0">
                    <a:solidFill>
                      <a:schemeClr val="bg1"/>
                    </a:solidFill>
                    <a:latin typeface="+mj-lt"/>
                  </a:rPr>
                  <a:t>Structured</a:t>
                </a:r>
                <a:endParaRPr lang="en-US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3989818" y="5950134"/>
                <a:ext cx="1418106" cy="3656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400" b="1" dirty="0" smtClean="0">
                    <a:solidFill>
                      <a:schemeClr val="bg1"/>
                    </a:solidFill>
                    <a:latin typeface="+mj-lt"/>
                  </a:rPr>
                  <a:t>Time bound</a:t>
                </a:r>
                <a:endParaRPr lang="en-US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10" name="Rectangle 9"/>
            <p:cNvSpPr/>
            <p:nvPr/>
          </p:nvSpPr>
          <p:spPr bwMode="auto">
            <a:xfrm rot="20547621">
              <a:off x="2334541" y="4422307"/>
              <a:ext cx="2480671" cy="114130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07955" tIns="107955" rIns="107955" bIns="107955" rtlCol="0" anchor="ctr">
              <a:noAutofit/>
            </a:bodyPr>
            <a:lstStyle/>
            <a:p>
              <a:pPr algn="l"/>
              <a:endParaRPr lang="en-US" sz="2099">
                <a:latin typeface="+mj-lt"/>
                <a:ea typeface="Verdana" pitchFamily="34" charset="0"/>
                <a:cs typeface="Verdana" pitchFamily="34" charset="0"/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19" b="44339"/>
          <a:stretch/>
        </p:blipFill>
        <p:spPr>
          <a:xfrm>
            <a:off x="2871367" y="1449433"/>
            <a:ext cx="1180969" cy="765313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55" t="1" r="33173" b="48083"/>
          <a:stretch/>
        </p:blipFill>
        <p:spPr>
          <a:xfrm>
            <a:off x="2781234" y="2288269"/>
            <a:ext cx="1409700" cy="71381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9667" b="46698"/>
          <a:stretch/>
        </p:blipFill>
        <p:spPr>
          <a:xfrm>
            <a:off x="2998393" y="3185391"/>
            <a:ext cx="1219200" cy="732870"/>
          </a:xfrm>
          <a:prstGeom prst="rect">
            <a:avLst/>
          </a:prstGeom>
        </p:spPr>
      </p:pic>
      <p:grpSp>
        <p:nvGrpSpPr>
          <p:cNvPr id="7" name="Group 4"/>
          <p:cNvGrpSpPr>
            <a:grpSpLocks noChangeAspect="1"/>
          </p:cNvGrpSpPr>
          <p:nvPr/>
        </p:nvGrpSpPr>
        <p:grpSpPr bwMode="auto">
          <a:xfrm>
            <a:off x="476250" y="1348760"/>
            <a:ext cx="944750" cy="2801037"/>
            <a:chOff x="404" y="948"/>
            <a:chExt cx="256" cy="759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404" y="948"/>
              <a:ext cx="256" cy="759"/>
            </a:xfrm>
            <a:custGeom>
              <a:avLst/>
              <a:gdLst>
                <a:gd name="T0" fmla="*/ 2053 w 2116"/>
                <a:gd name="T1" fmla="*/ 1844 h 6309"/>
                <a:gd name="T2" fmla="*/ 1983 w 2116"/>
                <a:gd name="T3" fmla="*/ 1143 h 6309"/>
                <a:gd name="T4" fmla="*/ 1571 w 2116"/>
                <a:gd name="T5" fmla="*/ 963 h 6309"/>
                <a:gd name="T6" fmla="*/ 1357 w 2116"/>
                <a:gd name="T7" fmla="*/ 812 h 6309"/>
                <a:gd name="T8" fmla="*/ 1368 w 2116"/>
                <a:gd name="T9" fmla="*/ 574 h 6309"/>
                <a:gd name="T10" fmla="*/ 1107 w 2116"/>
                <a:gd name="T11" fmla="*/ 0 h 6309"/>
                <a:gd name="T12" fmla="*/ 817 w 2116"/>
                <a:gd name="T13" fmla="*/ 424 h 6309"/>
                <a:gd name="T14" fmla="*/ 812 w 2116"/>
                <a:gd name="T15" fmla="*/ 621 h 6309"/>
                <a:gd name="T16" fmla="*/ 881 w 2116"/>
                <a:gd name="T17" fmla="*/ 777 h 6309"/>
                <a:gd name="T18" fmla="*/ 754 w 2116"/>
                <a:gd name="T19" fmla="*/ 899 h 6309"/>
                <a:gd name="T20" fmla="*/ 267 w 2116"/>
                <a:gd name="T21" fmla="*/ 1062 h 6309"/>
                <a:gd name="T22" fmla="*/ 162 w 2116"/>
                <a:gd name="T23" fmla="*/ 1636 h 6309"/>
                <a:gd name="T24" fmla="*/ 23 w 2116"/>
                <a:gd name="T25" fmla="*/ 1989 h 6309"/>
                <a:gd name="T26" fmla="*/ 75 w 2116"/>
                <a:gd name="T27" fmla="*/ 2244 h 6309"/>
                <a:gd name="T28" fmla="*/ 226 w 2116"/>
                <a:gd name="T29" fmla="*/ 2557 h 6309"/>
                <a:gd name="T30" fmla="*/ 429 w 2116"/>
                <a:gd name="T31" fmla="*/ 2424 h 6309"/>
                <a:gd name="T32" fmla="*/ 383 w 2116"/>
                <a:gd name="T33" fmla="*/ 2969 h 6309"/>
                <a:gd name="T34" fmla="*/ 470 w 2116"/>
                <a:gd name="T35" fmla="*/ 3549 h 6309"/>
                <a:gd name="T36" fmla="*/ 499 w 2116"/>
                <a:gd name="T37" fmla="*/ 5503 h 6309"/>
                <a:gd name="T38" fmla="*/ 493 w 2116"/>
                <a:gd name="T39" fmla="*/ 5932 h 6309"/>
                <a:gd name="T40" fmla="*/ 354 w 2116"/>
                <a:gd name="T41" fmla="*/ 6175 h 6309"/>
                <a:gd name="T42" fmla="*/ 574 w 2116"/>
                <a:gd name="T43" fmla="*/ 6291 h 6309"/>
                <a:gd name="T44" fmla="*/ 777 w 2116"/>
                <a:gd name="T45" fmla="*/ 6036 h 6309"/>
                <a:gd name="T46" fmla="*/ 928 w 2116"/>
                <a:gd name="T47" fmla="*/ 5851 h 6309"/>
                <a:gd name="T48" fmla="*/ 922 w 2116"/>
                <a:gd name="T49" fmla="*/ 5752 h 6309"/>
                <a:gd name="T50" fmla="*/ 910 w 2116"/>
                <a:gd name="T51" fmla="*/ 5149 h 6309"/>
                <a:gd name="T52" fmla="*/ 1049 w 2116"/>
                <a:gd name="T53" fmla="*/ 4048 h 6309"/>
                <a:gd name="T54" fmla="*/ 1113 w 2116"/>
                <a:gd name="T55" fmla="*/ 3537 h 6309"/>
                <a:gd name="T56" fmla="*/ 1165 w 2116"/>
                <a:gd name="T57" fmla="*/ 4946 h 6309"/>
                <a:gd name="T58" fmla="*/ 1200 w 2116"/>
                <a:gd name="T59" fmla="*/ 5642 h 6309"/>
                <a:gd name="T60" fmla="*/ 1287 w 2116"/>
                <a:gd name="T61" fmla="*/ 5822 h 6309"/>
                <a:gd name="T62" fmla="*/ 1299 w 2116"/>
                <a:gd name="T63" fmla="*/ 6019 h 6309"/>
                <a:gd name="T64" fmla="*/ 1334 w 2116"/>
                <a:gd name="T65" fmla="*/ 6170 h 6309"/>
                <a:gd name="T66" fmla="*/ 1699 w 2116"/>
                <a:gd name="T67" fmla="*/ 6233 h 6309"/>
                <a:gd name="T68" fmla="*/ 1600 w 2116"/>
                <a:gd name="T69" fmla="*/ 5903 h 6309"/>
                <a:gd name="T70" fmla="*/ 1583 w 2116"/>
                <a:gd name="T71" fmla="*/ 5723 h 6309"/>
                <a:gd name="T72" fmla="*/ 1577 w 2116"/>
                <a:gd name="T73" fmla="*/ 5346 h 6309"/>
                <a:gd name="T74" fmla="*/ 1687 w 2116"/>
                <a:gd name="T75" fmla="*/ 4117 h 6309"/>
                <a:gd name="T76" fmla="*/ 1948 w 2116"/>
                <a:gd name="T77" fmla="*/ 3439 h 6309"/>
                <a:gd name="T78" fmla="*/ 1798 w 2116"/>
                <a:gd name="T79" fmla="*/ 2644 h 6309"/>
                <a:gd name="T80" fmla="*/ 1995 w 2116"/>
                <a:gd name="T81" fmla="*/ 2360 h 6309"/>
                <a:gd name="T82" fmla="*/ 464 w 2116"/>
                <a:gd name="T83" fmla="*/ 2152 h 6309"/>
                <a:gd name="T84" fmla="*/ 406 w 2116"/>
                <a:gd name="T85" fmla="*/ 1966 h 6309"/>
                <a:gd name="T86" fmla="*/ 464 w 2116"/>
                <a:gd name="T87" fmla="*/ 2152 h 6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16" h="6309">
                  <a:moveTo>
                    <a:pt x="2099" y="2134"/>
                  </a:moveTo>
                  <a:cubicBezTo>
                    <a:pt x="2116" y="2105"/>
                    <a:pt x="2087" y="2047"/>
                    <a:pt x="2087" y="1995"/>
                  </a:cubicBezTo>
                  <a:cubicBezTo>
                    <a:pt x="2087" y="1943"/>
                    <a:pt x="2058" y="1879"/>
                    <a:pt x="2053" y="1844"/>
                  </a:cubicBezTo>
                  <a:cubicBezTo>
                    <a:pt x="2047" y="1804"/>
                    <a:pt x="2047" y="1717"/>
                    <a:pt x="2047" y="1653"/>
                  </a:cubicBezTo>
                  <a:cubicBezTo>
                    <a:pt x="2047" y="1595"/>
                    <a:pt x="2035" y="1508"/>
                    <a:pt x="2018" y="1404"/>
                  </a:cubicBezTo>
                  <a:cubicBezTo>
                    <a:pt x="2000" y="1305"/>
                    <a:pt x="1983" y="1183"/>
                    <a:pt x="1983" y="1143"/>
                  </a:cubicBezTo>
                  <a:cubicBezTo>
                    <a:pt x="1977" y="1096"/>
                    <a:pt x="1948" y="1096"/>
                    <a:pt x="1925" y="1079"/>
                  </a:cubicBezTo>
                  <a:cubicBezTo>
                    <a:pt x="1908" y="1062"/>
                    <a:pt x="1838" y="1056"/>
                    <a:pt x="1769" y="1015"/>
                  </a:cubicBezTo>
                  <a:cubicBezTo>
                    <a:pt x="1705" y="975"/>
                    <a:pt x="1612" y="980"/>
                    <a:pt x="1571" y="963"/>
                  </a:cubicBezTo>
                  <a:cubicBezTo>
                    <a:pt x="1531" y="946"/>
                    <a:pt x="1461" y="928"/>
                    <a:pt x="1461" y="928"/>
                  </a:cubicBezTo>
                  <a:cubicBezTo>
                    <a:pt x="1461" y="928"/>
                    <a:pt x="1438" y="899"/>
                    <a:pt x="1426" y="893"/>
                  </a:cubicBezTo>
                  <a:cubicBezTo>
                    <a:pt x="1409" y="882"/>
                    <a:pt x="1374" y="847"/>
                    <a:pt x="1357" y="812"/>
                  </a:cubicBezTo>
                  <a:cubicBezTo>
                    <a:pt x="1345" y="777"/>
                    <a:pt x="1322" y="777"/>
                    <a:pt x="1322" y="777"/>
                  </a:cubicBezTo>
                  <a:cubicBezTo>
                    <a:pt x="1328" y="714"/>
                    <a:pt x="1351" y="673"/>
                    <a:pt x="1351" y="650"/>
                  </a:cubicBezTo>
                  <a:cubicBezTo>
                    <a:pt x="1351" y="627"/>
                    <a:pt x="1357" y="598"/>
                    <a:pt x="1368" y="574"/>
                  </a:cubicBezTo>
                  <a:cubicBezTo>
                    <a:pt x="1374" y="551"/>
                    <a:pt x="1386" y="493"/>
                    <a:pt x="1392" y="406"/>
                  </a:cubicBezTo>
                  <a:cubicBezTo>
                    <a:pt x="1397" y="325"/>
                    <a:pt x="1368" y="192"/>
                    <a:pt x="1328" y="111"/>
                  </a:cubicBezTo>
                  <a:cubicBezTo>
                    <a:pt x="1287" y="29"/>
                    <a:pt x="1148" y="0"/>
                    <a:pt x="1107" y="0"/>
                  </a:cubicBezTo>
                  <a:cubicBezTo>
                    <a:pt x="1067" y="0"/>
                    <a:pt x="997" y="24"/>
                    <a:pt x="951" y="47"/>
                  </a:cubicBezTo>
                  <a:cubicBezTo>
                    <a:pt x="904" y="64"/>
                    <a:pt x="858" y="128"/>
                    <a:pt x="829" y="203"/>
                  </a:cubicBezTo>
                  <a:cubicBezTo>
                    <a:pt x="800" y="273"/>
                    <a:pt x="817" y="424"/>
                    <a:pt x="817" y="424"/>
                  </a:cubicBezTo>
                  <a:cubicBezTo>
                    <a:pt x="817" y="424"/>
                    <a:pt x="788" y="406"/>
                    <a:pt x="771" y="406"/>
                  </a:cubicBezTo>
                  <a:cubicBezTo>
                    <a:pt x="754" y="412"/>
                    <a:pt x="771" y="476"/>
                    <a:pt x="771" y="493"/>
                  </a:cubicBezTo>
                  <a:cubicBezTo>
                    <a:pt x="765" y="516"/>
                    <a:pt x="794" y="603"/>
                    <a:pt x="812" y="621"/>
                  </a:cubicBezTo>
                  <a:cubicBezTo>
                    <a:pt x="823" y="638"/>
                    <a:pt x="858" y="638"/>
                    <a:pt x="858" y="638"/>
                  </a:cubicBezTo>
                  <a:cubicBezTo>
                    <a:pt x="864" y="685"/>
                    <a:pt x="864" y="685"/>
                    <a:pt x="864" y="685"/>
                  </a:cubicBezTo>
                  <a:cubicBezTo>
                    <a:pt x="881" y="777"/>
                    <a:pt x="881" y="777"/>
                    <a:pt x="881" y="777"/>
                  </a:cubicBezTo>
                  <a:cubicBezTo>
                    <a:pt x="881" y="777"/>
                    <a:pt x="858" y="789"/>
                    <a:pt x="852" y="789"/>
                  </a:cubicBezTo>
                  <a:cubicBezTo>
                    <a:pt x="846" y="795"/>
                    <a:pt x="800" y="847"/>
                    <a:pt x="783" y="870"/>
                  </a:cubicBezTo>
                  <a:cubicBezTo>
                    <a:pt x="765" y="893"/>
                    <a:pt x="754" y="899"/>
                    <a:pt x="754" y="899"/>
                  </a:cubicBezTo>
                  <a:cubicBezTo>
                    <a:pt x="754" y="899"/>
                    <a:pt x="678" y="917"/>
                    <a:pt x="649" y="917"/>
                  </a:cubicBezTo>
                  <a:cubicBezTo>
                    <a:pt x="609" y="911"/>
                    <a:pt x="568" y="957"/>
                    <a:pt x="475" y="975"/>
                  </a:cubicBezTo>
                  <a:cubicBezTo>
                    <a:pt x="377" y="992"/>
                    <a:pt x="313" y="1027"/>
                    <a:pt x="267" y="1062"/>
                  </a:cubicBezTo>
                  <a:cubicBezTo>
                    <a:pt x="220" y="1096"/>
                    <a:pt x="267" y="1224"/>
                    <a:pt x="261" y="1270"/>
                  </a:cubicBezTo>
                  <a:cubicBezTo>
                    <a:pt x="255" y="1317"/>
                    <a:pt x="255" y="1421"/>
                    <a:pt x="238" y="1467"/>
                  </a:cubicBezTo>
                  <a:cubicBezTo>
                    <a:pt x="220" y="1508"/>
                    <a:pt x="174" y="1601"/>
                    <a:pt x="162" y="1636"/>
                  </a:cubicBezTo>
                  <a:cubicBezTo>
                    <a:pt x="151" y="1670"/>
                    <a:pt x="162" y="1711"/>
                    <a:pt x="145" y="1734"/>
                  </a:cubicBezTo>
                  <a:cubicBezTo>
                    <a:pt x="127" y="1757"/>
                    <a:pt x="93" y="1809"/>
                    <a:pt x="69" y="1856"/>
                  </a:cubicBezTo>
                  <a:cubicBezTo>
                    <a:pt x="46" y="1896"/>
                    <a:pt x="46" y="1908"/>
                    <a:pt x="23" y="1989"/>
                  </a:cubicBezTo>
                  <a:cubicBezTo>
                    <a:pt x="0" y="2065"/>
                    <a:pt x="0" y="2047"/>
                    <a:pt x="11" y="2088"/>
                  </a:cubicBezTo>
                  <a:cubicBezTo>
                    <a:pt x="23" y="2134"/>
                    <a:pt x="29" y="2146"/>
                    <a:pt x="52" y="2163"/>
                  </a:cubicBezTo>
                  <a:cubicBezTo>
                    <a:pt x="75" y="2186"/>
                    <a:pt x="58" y="2233"/>
                    <a:pt x="75" y="2244"/>
                  </a:cubicBezTo>
                  <a:cubicBezTo>
                    <a:pt x="87" y="2256"/>
                    <a:pt x="87" y="2314"/>
                    <a:pt x="110" y="2331"/>
                  </a:cubicBezTo>
                  <a:cubicBezTo>
                    <a:pt x="133" y="2354"/>
                    <a:pt x="139" y="2395"/>
                    <a:pt x="156" y="2447"/>
                  </a:cubicBezTo>
                  <a:cubicBezTo>
                    <a:pt x="168" y="2499"/>
                    <a:pt x="191" y="2528"/>
                    <a:pt x="226" y="2557"/>
                  </a:cubicBezTo>
                  <a:cubicBezTo>
                    <a:pt x="261" y="2586"/>
                    <a:pt x="290" y="2552"/>
                    <a:pt x="319" y="2517"/>
                  </a:cubicBezTo>
                  <a:cubicBezTo>
                    <a:pt x="348" y="2488"/>
                    <a:pt x="342" y="2459"/>
                    <a:pt x="359" y="2453"/>
                  </a:cubicBezTo>
                  <a:cubicBezTo>
                    <a:pt x="377" y="2447"/>
                    <a:pt x="417" y="2447"/>
                    <a:pt x="429" y="2424"/>
                  </a:cubicBezTo>
                  <a:cubicBezTo>
                    <a:pt x="435" y="2407"/>
                    <a:pt x="452" y="2424"/>
                    <a:pt x="452" y="2424"/>
                  </a:cubicBezTo>
                  <a:cubicBezTo>
                    <a:pt x="394" y="2662"/>
                    <a:pt x="394" y="2662"/>
                    <a:pt x="394" y="2662"/>
                  </a:cubicBezTo>
                  <a:cubicBezTo>
                    <a:pt x="394" y="2662"/>
                    <a:pt x="383" y="2807"/>
                    <a:pt x="383" y="2969"/>
                  </a:cubicBezTo>
                  <a:cubicBezTo>
                    <a:pt x="383" y="3131"/>
                    <a:pt x="342" y="3259"/>
                    <a:pt x="330" y="3340"/>
                  </a:cubicBezTo>
                  <a:cubicBezTo>
                    <a:pt x="313" y="3427"/>
                    <a:pt x="371" y="3439"/>
                    <a:pt x="400" y="3479"/>
                  </a:cubicBezTo>
                  <a:cubicBezTo>
                    <a:pt x="435" y="3520"/>
                    <a:pt x="458" y="3508"/>
                    <a:pt x="470" y="3549"/>
                  </a:cubicBezTo>
                  <a:cubicBezTo>
                    <a:pt x="475" y="3589"/>
                    <a:pt x="493" y="3908"/>
                    <a:pt x="499" y="4036"/>
                  </a:cubicBezTo>
                  <a:cubicBezTo>
                    <a:pt x="504" y="4164"/>
                    <a:pt x="470" y="4703"/>
                    <a:pt x="475" y="4882"/>
                  </a:cubicBezTo>
                  <a:cubicBezTo>
                    <a:pt x="481" y="5068"/>
                    <a:pt x="499" y="5381"/>
                    <a:pt x="499" y="5503"/>
                  </a:cubicBezTo>
                  <a:cubicBezTo>
                    <a:pt x="493" y="5619"/>
                    <a:pt x="504" y="5683"/>
                    <a:pt x="516" y="5729"/>
                  </a:cubicBezTo>
                  <a:cubicBezTo>
                    <a:pt x="528" y="5781"/>
                    <a:pt x="557" y="5833"/>
                    <a:pt x="557" y="5833"/>
                  </a:cubicBezTo>
                  <a:cubicBezTo>
                    <a:pt x="533" y="5839"/>
                    <a:pt x="493" y="5932"/>
                    <a:pt x="493" y="5932"/>
                  </a:cubicBezTo>
                  <a:cubicBezTo>
                    <a:pt x="493" y="5932"/>
                    <a:pt x="470" y="5967"/>
                    <a:pt x="452" y="5996"/>
                  </a:cubicBezTo>
                  <a:cubicBezTo>
                    <a:pt x="441" y="6019"/>
                    <a:pt x="400" y="6094"/>
                    <a:pt x="388" y="6117"/>
                  </a:cubicBezTo>
                  <a:cubicBezTo>
                    <a:pt x="371" y="6135"/>
                    <a:pt x="354" y="6175"/>
                    <a:pt x="354" y="6175"/>
                  </a:cubicBezTo>
                  <a:cubicBezTo>
                    <a:pt x="354" y="6175"/>
                    <a:pt x="348" y="6210"/>
                    <a:pt x="348" y="6239"/>
                  </a:cubicBezTo>
                  <a:cubicBezTo>
                    <a:pt x="354" y="6268"/>
                    <a:pt x="400" y="6268"/>
                    <a:pt x="441" y="6280"/>
                  </a:cubicBezTo>
                  <a:cubicBezTo>
                    <a:pt x="475" y="6291"/>
                    <a:pt x="557" y="6291"/>
                    <a:pt x="574" y="6291"/>
                  </a:cubicBezTo>
                  <a:cubicBezTo>
                    <a:pt x="591" y="6291"/>
                    <a:pt x="655" y="6257"/>
                    <a:pt x="707" y="6233"/>
                  </a:cubicBezTo>
                  <a:cubicBezTo>
                    <a:pt x="754" y="6204"/>
                    <a:pt x="748" y="6164"/>
                    <a:pt x="754" y="6135"/>
                  </a:cubicBezTo>
                  <a:cubicBezTo>
                    <a:pt x="759" y="6106"/>
                    <a:pt x="777" y="6036"/>
                    <a:pt x="777" y="6036"/>
                  </a:cubicBezTo>
                  <a:cubicBezTo>
                    <a:pt x="777" y="6036"/>
                    <a:pt x="812" y="6048"/>
                    <a:pt x="829" y="6048"/>
                  </a:cubicBezTo>
                  <a:cubicBezTo>
                    <a:pt x="846" y="6054"/>
                    <a:pt x="922" y="5961"/>
                    <a:pt x="922" y="5961"/>
                  </a:cubicBezTo>
                  <a:cubicBezTo>
                    <a:pt x="928" y="5851"/>
                    <a:pt x="928" y="5851"/>
                    <a:pt x="928" y="5851"/>
                  </a:cubicBezTo>
                  <a:cubicBezTo>
                    <a:pt x="916" y="5828"/>
                    <a:pt x="916" y="5828"/>
                    <a:pt x="916" y="5828"/>
                  </a:cubicBezTo>
                  <a:cubicBezTo>
                    <a:pt x="904" y="5787"/>
                    <a:pt x="904" y="5787"/>
                    <a:pt x="904" y="5787"/>
                  </a:cubicBezTo>
                  <a:cubicBezTo>
                    <a:pt x="904" y="5787"/>
                    <a:pt x="916" y="5758"/>
                    <a:pt x="922" y="5752"/>
                  </a:cubicBezTo>
                  <a:cubicBezTo>
                    <a:pt x="922" y="5746"/>
                    <a:pt x="922" y="5630"/>
                    <a:pt x="922" y="5584"/>
                  </a:cubicBezTo>
                  <a:cubicBezTo>
                    <a:pt x="922" y="5543"/>
                    <a:pt x="910" y="5422"/>
                    <a:pt x="899" y="5358"/>
                  </a:cubicBezTo>
                  <a:cubicBezTo>
                    <a:pt x="887" y="5288"/>
                    <a:pt x="893" y="5201"/>
                    <a:pt x="910" y="5149"/>
                  </a:cubicBezTo>
                  <a:cubicBezTo>
                    <a:pt x="928" y="5097"/>
                    <a:pt x="945" y="4958"/>
                    <a:pt x="968" y="4888"/>
                  </a:cubicBezTo>
                  <a:cubicBezTo>
                    <a:pt x="986" y="4819"/>
                    <a:pt x="1020" y="4575"/>
                    <a:pt x="1026" y="4500"/>
                  </a:cubicBezTo>
                  <a:cubicBezTo>
                    <a:pt x="1032" y="4430"/>
                    <a:pt x="1044" y="4135"/>
                    <a:pt x="1049" y="4048"/>
                  </a:cubicBezTo>
                  <a:cubicBezTo>
                    <a:pt x="1061" y="3961"/>
                    <a:pt x="1067" y="3624"/>
                    <a:pt x="1067" y="3555"/>
                  </a:cubicBezTo>
                  <a:cubicBezTo>
                    <a:pt x="1067" y="3479"/>
                    <a:pt x="1084" y="3450"/>
                    <a:pt x="1096" y="3456"/>
                  </a:cubicBezTo>
                  <a:cubicBezTo>
                    <a:pt x="1107" y="3468"/>
                    <a:pt x="1119" y="3485"/>
                    <a:pt x="1113" y="3537"/>
                  </a:cubicBezTo>
                  <a:cubicBezTo>
                    <a:pt x="1107" y="3584"/>
                    <a:pt x="1131" y="3763"/>
                    <a:pt x="1131" y="3984"/>
                  </a:cubicBezTo>
                  <a:cubicBezTo>
                    <a:pt x="1131" y="4210"/>
                    <a:pt x="1125" y="4401"/>
                    <a:pt x="1136" y="4552"/>
                  </a:cubicBezTo>
                  <a:cubicBezTo>
                    <a:pt x="1142" y="4703"/>
                    <a:pt x="1160" y="4830"/>
                    <a:pt x="1165" y="4946"/>
                  </a:cubicBezTo>
                  <a:cubicBezTo>
                    <a:pt x="1171" y="5068"/>
                    <a:pt x="1218" y="5196"/>
                    <a:pt x="1241" y="5317"/>
                  </a:cubicBezTo>
                  <a:cubicBezTo>
                    <a:pt x="1264" y="5439"/>
                    <a:pt x="1252" y="5468"/>
                    <a:pt x="1247" y="5509"/>
                  </a:cubicBezTo>
                  <a:cubicBezTo>
                    <a:pt x="1241" y="5555"/>
                    <a:pt x="1212" y="5596"/>
                    <a:pt x="1200" y="5642"/>
                  </a:cubicBezTo>
                  <a:cubicBezTo>
                    <a:pt x="1183" y="5694"/>
                    <a:pt x="1183" y="5729"/>
                    <a:pt x="1189" y="5752"/>
                  </a:cubicBezTo>
                  <a:cubicBezTo>
                    <a:pt x="1194" y="5775"/>
                    <a:pt x="1287" y="5799"/>
                    <a:pt x="1287" y="5799"/>
                  </a:cubicBezTo>
                  <a:cubicBezTo>
                    <a:pt x="1287" y="5822"/>
                    <a:pt x="1287" y="5822"/>
                    <a:pt x="1287" y="5822"/>
                  </a:cubicBezTo>
                  <a:cubicBezTo>
                    <a:pt x="1287" y="5822"/>
                    <a:pt x="1264" y="5828"/>
                    <a:pt x="1258" y="5845"/>
                  </a:cubicBezTo>
                  <a:cubicBezTo>
                    <a:pt x="1252" y="5857"/>
                    <a:pt x="1264" y="5973"/>
                    <a:pt x="1264" y="5978"/>
                  </a:cubicBezTo>
                  <a:cubicBezTo>
                    <a:pt x="1270" y="5984"/>
                    <a:pt x="1293" y="6007"/>
                    <a:pt x="1299" y="6019"/>
                  </a:cubicBezTo>
                  <a:cubicBezTo>
                    <a:pt x="1310" y="6030"/>
                    <a:pt x="1345" y="6048"/>
                    <a:pt x="1345" y="6048"/>
                  </a:cubicBezTo>
                  <a:cubicBezTo>
                    <a:pt x="1339" y="6106"/>
                    <a:pt x="1339" y="6106"/>
                    <a:pt x="1339" y="6106"/>
                  </a:cubicBezTo>
                  <a:cubicBezTo>
                    <a:pt x="1339" y="6106"/>
                    <a:pt x="1339" y="6141"/>
                    <a:pt x="1334" y="6170"/>
                  </a:cubicBezTo>
                  <a:cubicBezTo>
                    <a:pt x="1322" y="6204"/>
                    <a:pt x="1368" y="6233"/>
                    <a:pt x="1392" y="6257"/>
                  </a:cubicBezTo>
                  <a:cubicBezTo>
                    <a:pt x="1421" y="6280"/>
                    <a:pt x="1508" y="6309"/>
                    <a:pt x="1566" y="6309"/>
                  </a:cubicBezTo>
                  <a:cubicBezTo>
                    <a:pt x="1618" y="6309"/>
                    <a:pt x="1699" y="6280"/>
                    <a:pt x="1699" y="6233"/>
                  </a:cubicBezTo>
                  <a:cubicBezTo>
                    <a:pt x="1699" y="6181"/>
                    <a:pt x="1699" y="6129"/>
                    <a:pt x="1699" y="6129"/>
                  </a:cubicBezTo>
                  <a:cubicBezTo>
                    <a:pt x="1699" y="6129"/>
                    <a:pt x="1693" y="6088"/>
                    <a:pt x="1670" y="6054"/>
                  </a:cubicBezTo>
                  <a:cubicBezTo>
                    <a:pt x="1653" y="6025"/>
                    <a:pt x="1612" y="5932"/>
                    <a:pt x="1600" y="5903"/>
                  </a:cubicBezTo>
                  <a:cubicBezTo>
                    <a:pt x="1589" y="5880"/>
                    <a:pt x="1571" y="5833"/>
                    <a:pt x="1571" y="5833"/>
                  </a:cubicBezTo>
                  <a:cubicBezTo>
                    <a:pt x="1589" y="5833"/>
                    <a:pt x="1589" y="5833"/>
                    <a:pt x="1589" y="5833"/>
                  </a:cubicBezTo>
                  <a:cubicBezTo>
                    <a:pt x="1589" y="5833"/>
                    <a:pt x="1583" y="5741"/>
                    <a:pt x="1583" y="5723"/>
                  </a:cubicBezTo>
                  <a:cubicBezTo>
                    <a:pt x="1583" y="5700"/>
                    <a:pt x="1566" y="5619"/>
                    <a:pt x="1554" y="5601"/>
                  </a:cubicBezTo>
                  <a:cubicBezTo>
                    <a:pt x="1542" y="5578"/>
                    <a:pt x="1531" y="5543"/>
                    <a:pt x="1537" y="5526"/>
                  </a:cubicBezTo>
                  <a:cubicBezTo>
                    <a:pt x="1537" y="5509"/>
                    <a:pt x="1560" y="5422"/>
                    <a:pt x="1577" y="5346"/>
                  </a:cubicBezTo>
                  <a:cubicBezTo>
                    <a:pt x="1589" y="5265"/>
                    <a:pt x="1606" y="5172"/>
                    <a:pt x="1618" y="5056"/>
                  </a:cubicBezTo>
                  <a:cubicBezTo>
                    <a:pt x="1629" y="4935"/>
                    <a:pt x="1653" y="4749"/>
                    <a:pt x="1647" y="4610"/>
                  </a:cubicBezTo>
                  <a:cubicBezTo>
                    <a:pt x="1641" y="4471"/>
                    <a:pt x="1676" y="4204"/>
                    <a:pt x="1687" y="4117"/>
                  </a:cubicBezTo>
                  <a:cubicBezTo>
                    <a:pt x="1699" y="4036"/>
                    <a:pt x="1722" y="3578"/>
                    <a:pt x="1722" y="3578"/>
                  </a:cubicBezTo>
                  <a:cubicBezTo>
                    <a:pt x="1722" y="3578"/>
                    <a:pt x="1803" y="3549"/>
                    <a:pt x="1838" y="3543"/>
                  </a:cubicBezTo>
                  <a:cubicBezTo>
                    <a:pt x="1867" y="3537"/>
                    <a:pt x="1942" y="3474"/>
                    <a:pt x="1948" y="3439"/>
                  </a:cubicBezTo>
                  <a:cubicBezTo>
                    <a:pt x="1960" y="3404"/>
                    <a:pt x="1937" y="3276"/>
                    <a:pt x="1890" y="3195"/>
                  </a:cubicBezTo>
                  <a:cubicBezTo>
                    <a:pt x="1838" y="3120"/>
                    <a:pt x="1827" y="2940"/>
                    <a:pt x="1803" y="2871"/>
                  </a:cubicBezTo>
                  <a:cubicBezTo>
                    <a:pt x="1786" y="2795"/>
                    <a:pt x="1803" y="2691"/>
                    <a:pt x="1798" y="2644"/>
                  </a:cubicBezTo>
                  <a:cubicBezTo>
                    <a:pt x="1798" y="2598"/>
                    <a:pt x="1769" y="2505"/>
                    <a:pt x="1769" y="2505"/>
                  </a:cubicBezTo>
                  <a:cubicBezTo>
                    <a:pt x="1769" y="2505"/>
                    <a:pt x="1856" y="2470"/>
                    <a:pt x="1873" y="2465"/>
                  </a:cubicBezTo>
                  <a:cubicBezTo>
                    <a:pt x="1890" y="2453"/>
                    <a:pt x="1948" y="2389"/>
                    <a:pt x="1995" y="2360"/>
                  </a:cubicBezTo>
                  <a:cubicBezTo>
                    <a:pt x="2035" y="2326"/>
                    <a:pt x="2082" y="2279"/>
                    <a:pt x="2099" y="2256"/>
                  </a:cubicBezTo>
                  <a:cubicBezTo>
                    <a:pt x="2116" y="2233"/>
                    <a:pt x="2082" y="2157"/>
                    <a:pt x="2099" y="2134"/>
                  </a:cubicBezTo>
                  <a:close/>
                  <a:moveTo>
                    <a:pt x="464" y="2152"/>
                  </a:moveTo>
                  <a:cubicBezTo>
                    <a:pt x="400" y="2134"/>
                    <a:pt x="400" y="2134"/>
                    <a:pt x="400" y="2134"/>
                  </a:cubicBezTo>
                  <a:cubicBezTo>
                    <a:pt x="400" y="2134"/>
                    <a:pt x="417" y="2053"/>
                    <a:pt x="423" y="2024"/>
                  </a:cubicBezTo>
                  <a:cubicBezTo>
                    <a:pt x="423" y="2001"/>
                    <a:pt x="406" y="1995"/>
                    <a:pt x="406" y="1966"/>
                  </a:cubicBezTo>
                  <a:cubicBezTo>
                    <a:pt x="406" y="1937"/>
                    <a:pt x="464" y="1879"/>
                    <a:pt x="464" y="1879"/>
                  </a:cubicBezTo>
                  <a:cubicBezTo>
                    <a:pt x="504" y="1885"/>
                    <a:pt x="504" y="1885"/>
                    <a:pt x="504" y="1885"/>
                  </a:cubicBezTo>
                  <a:lnTo>
                    <a:pt x="464" y="2152"/>
                  </a:lnTo>
                  <a:close/>
                </a:path>
              </a:pathLst>
            </a:custGeom>
            <a:solidFill>
              <a:srgbClr val="939598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508" y="1042"/>
              <a:ext cx="58" cy="121"/>
            </a:xfrm>
            <a:custGeom>
              <a:avLst/>
              <a:gdLst>
                <a:gd name="T0" fmla="*/ 29 w 483"/>
                <a:gd name="T1" fmla="*/ 11 h 1008"/>
                <a:gd name="T2" fmla="*/ 105 w 483"/>
                <a:gd name="T3" fmla="*/ 146 h 1008"/>
                <a:gd name="T4" fmla="*/ 198 w 483"/>
                <a:gd name="T5" fmla="*/ 215 h 1008"/>
                <a:gd name="T6" fmla="*/ 262 w 483"/>
                <a:gd name="T7" fmla="*/ 221 h 1008"/>
                <a:gd name="T8" fmla="*/ 355 w 483"/>
                <a:gd name="T9" fmla="*/ 175 h 1008"/>
                <a:gd name="T10" fmla="*/ 408 w 483"/>
                <a:gd name="T11" fmla="*/ 105 h 1008"/>
                <a:gd name="T12" fmla="*/ 454 w 483"/>
                <a:gd name="T13" fmla="*/ 6 h 1008"/>
                <a:gd name="T14" fmla="*/ 478 w 483"/>
                <a:gd name="T15" fmla="*/ 17 h 1008"/>
                <a:gd name="T16" fmla="*/ 472 w 483"/>
                <a:gd name="T17" fmla="*/ 122 h 1008"/>
                <a:gd name="T18" fmla="*/ 425 w 483"/>
                <a:gd name="T19" fmla="*/ 303 h 1008"/>
                <a:gd name="T20" fmla="*/ 390 w 483"/>
                <a:gd name="T21" fmla="*/ 402 h 1008"/>
                <a:gd name="T22" fmla="*/ 332 w 483"/>
                <a:gd name="T23" fmla="*/ 350 h 1008"/>
                <a:gd name="T24" fmla="*/ 379 w 483"/>
                <a:gd name="T25" fmla="*/ 419 h 1008"/>
                <a:gd name="T26" fmla="*/ 315 w 483"/>
                <a:gd name="T27" fmla="*/ 635 h 1008"/>
                <a:gd name="T28" fmla="*/ 186 w 483"/>
                <a:gd name="T29" fmla="*/ 962 h 1008"/>
                <a:gd name="T30" fmla="*/ 111 w 483"/>
                <a:gd name="T31" fmla="*/ 956 h 1008"/>
                <a:gd name="T32" fmla="*/ 64 w 483"/>
                <a:gd name="T33" fmla="*/ 734 h 1008"/>
                <a:gd name="T34" fmla="*/ 35 w 483"/>
                <a:gd name="T35" fmla="*/ 513 h 1008"/>
                <a:gd name="T36" fmla="*/ 35 w 483"/>
                <a:gd name="T37" fmla="*/ 414 h 1008"/>
                <a:gd name="T38" fmla="*/ 99 w 483"/>
                <a:gd name="T39" fmla="*/ 355 h 1008"/>
                <a:gd name="T40" fmla="*/ 29 w 483"/>
                <a:gd name="T41" fmla="*/ 355 h 1008"/>
                <a:gd name="T42" fmla="*/ 12 w 483"/>
                <a:gd name="T43" fmla="*/ 180 h 1008"/>
                <a:gd name="T44" fmla="*/ 12 w 483"/>
                <a:gd name="T45" fmla="*/ 17 h 1008"/>
                <a:gd name="T46" fmla="*/ 29 w 483"/>
                <a:gd name="T47" fmla="*/ 11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3" h="1008">
                  <a:moveTo>
                    <a:pt x="29" y="11"/>
                  </a:moveTo>
                  <a:cubicBezTo>
                    <a:pt x="35" y="46"/>
                    <a:pt x="82" y="122"/>
                    <a:pt x="105" y="146"/>
                  </a:cubicBezTo>
                  <a:cubicBezTo>
                    <a:pt x="128" y="163"/>
                    <a:pt x="175" y="210"/>
                    <a:pt x="198" y="215"/>
                  </a:cubicBezTo>
                  <a:cubicBezTo>
                    <a:pt x="216" y="215"/>
                    <a:pt x="245" y="227"/>
                    <a:pt x="262" y="221"/>
                  </a:cubicBezTo>
                  <a:cubicBezTo>
                    <a:pt x="285" y="215"/>
                    <a:pt x="338" y="198"/>
                    <a:pt x="355" y="175"/>
                  </a:cubicBezTo>
                  <a:cubicBezTo>
                    <a:pt x="373" y="157"/>
                    <a:pt x="396" y="122"/>
                    <a:pt x="408" y="105"/>
                  </a:cubicBezTo>
                  <a:cubicBezTo>
                    <a:pt x="414" y="81"/>
                    <a:pt x="454" y="6"/>
                    <a:pt x="454" y="6"/>
                  </a:cubicBezTo>
                  <a:cubicBezTo>
                    <a:pt x="454" y="6"/>
                    <a:pt x="472" y="0"/>
                    <a:pt x="478" y="17"/>
                  </a:cubicBezTo>
                  <a:cubicBezTo>
                    <a:pt x="483" y="35"/>
                    <a:pt x="478" y="76"/>
                    <a:pt x="472" y="122"/>
                  </a:cubicBezTo>
                  <a:cubicBezTo>
                    <a:pt x="466" y="169"/>
                    <a:pt x="437" y="262"/>
                    <a:pt x="425" y="303"/>
                  </a:cubicBezTo>
                  <a:cubicBezTo>
                    <a:pt x="414" y="344"/>
                    <a:pt x="390" y="402"/>
                    <a:pt x="390" y="402"/>
                  </a:cubicBezTo>
                  <a:cubicBezTo>
                    <a:pt x="332" y="350"/>
                    <a:pt x="332" y="350"/>
                    <a:pt x="332" y="350"/>
                  </a:cubicBezTo>
                  <a:cubicBezTo>
                    <a:pt x="332" y="350"/>
                    <a:pt x="373" y="414"/>
                    <a:pt x="379" y="419"/>
                  </a:cubicBezTo>
                  <a:cubicBezTo>
                    <a:pt x="379" y="431"/>
                    <a:pt x="315" y="635"/>
                    <a:pt x="315" y="635"/>
                  </a:cubicBezTo>
                  <a:cubicBezTo>
                    <a:pt x="315" y="635"/>
                    <a:pt x="198" y="909"/>
                    <a:pt x="186" y="962"/>
                  </a:cubicBezTo>
                  <a:cubicBezTo>
                    <a:pt x="181" y="1008"/>
                    <a:pt x="122" y="996"/>
                    <a:pt x="111" y="956"/>
                  </a:cubicBezTo>
                  <a:cubicBezTo>
                    <a:pt x="105" y="915"/>
                    <a:pt x="64" y="734"/>
                    <a:pt x="64" y="734"/>
                  </a:cubicBezTo>
                  <a:cubicBezTo>
                    <a:pt x="64" y="734"/>
                    <a:pt x="35" y="548"/>
                    <a:pt x="35" y="513"/>
                  </a:cubicBezTo>
                  <a:cubicBezTo>
                    <a:pt x="35" y="478"/>
                    <a:pt x="35" y="414"/>
                    <a:pt x="35" y="414"/>
                  </a:cubicBezTo>
                  <a:cubicBezTo>
                    <a:pt x="99" y="355"/>
                    <a:pt x="99" y="355"/>
                    <a:pt x="99" y="355"/>
                  </a:cubicBezTo>
                  <a:cubicBezTo>
                    <a:pt x="29" y="355"/>
                    <a:pt x="29" y="355"/>
                    <a:pt x="29" y="355"/>
                  </a:cubicBezTo>
                  <a:cubicBezTo>
                    <a:pt x="29" y="355"/>
                    <a:pt x="18" y="239"/>
                    <a:pt x="12" y="180"/>
                  </a:cubicBezTo>
                  <a:cubicBezTo>
                    <a:pt x="6" y="122"/>
                    <a:pt x="0" y="29"/>
                    <a:pt x="12" y="17"/>
                  </a:cubicBezTo>
                  <a:cubicBezTo>
                    <a:pt x="18" y="11"/>
                    <a:pt x="29" y="11"/>
                    <a:pt x="29" y="11"/>
                  </a:cubicBezTo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518" y="1067"/>
              <a:ext cx="28" cy="95"/>
            </a:xfrm>
            <a:custGeom>
              <a:avLst/>
              <a:gdLst>
                <a:gd name="T0" fmla="*/ 148 w 234"/>
                <a:gd name="T1" fmla="*/ 0 h 792"/>
                <a:gd name="T2" fmla="*/ 69 w 234"/>
                <a:gd name="T3" fmla="*/ 41 h 792"/>
                <a:gd name="T4" fmla="*/ 69 w 234"/>
                <a:gd name="T5" fmla="*/ 99 h 792"/>
                <a:gd name="T6" fmla="*/ 92 w 234"/>
                <a:gd name="T7" fmla="*/ 146 h 792"/>
                <a:gd name="T8" fmla="*/ 52 w 234"/>
                <a:gd name="T9" fmla="*/ 233 h 792"/>
                <a:gd name="T10" fmla="*/ 6 w 234"/>
                <a:gd name="T11" fmla="*/ 390 h 792"/>
                <a:gd name="T12" fmla="*/ 0 w 234"/>
                <a:gd name="T13" fmla="*/ 582 h 792"/>
                <a:gd name="T14" fmla="*/ 69 w 234"/>
                <a:gd name="T15" fmla="*/ 792 h 792"/>
                <a:gd name="T16" fmla="*/ 148 w 234"/>
                <a:gd name="T17" fmla="*/ 664 h 792"/>
                <a:gd name="T18" fmla="*/ 205 w 234"/>
                <a:gd name="T19" fmla="*/ 460 h 792"/>
                <a:gd name="T20" fmla="*/ 211 w 234"/>
                <a:gd name="T21" fmla="*/ 291 h 792"/>
                <a:gd name="T22" fmla="*/ 148 w 234"/>
                <a:gd name="T23" fmla="*/ 146 h 792"/>
                <a:gd name="T24" fmla="*/ 188 w 234"/>
                <a:gd name="T25" fmla="*/ 117 h 792"/>
                <a:gd name="T26" fmla="*/ 200 w 234"/>
                <a:gd name="T27" fmla="*/ 58 h 792"/>
                <a:gd name="T28" fmla="*/ 148 w 234"/>
                <a:gd name="T29" fmla="*/ 0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792">
                  <a:moveTo>
                    <a:pt x="148" y="0"/>
                  </a:moveTo>
                  <a:cubicBezTo>
                    <a:pt x="120" y="0"/>
                    <a:pt x="86" y="18"/>
                    <a:pt x="69" y="41"/>
                  </a:cubicBezTo>
                  <a:cubicBezTo>
                    <a:pt x="57" y="64"/>
                    <a:pt x="63" y="82"/>
                    <a:pt x="69" y="99"/>
                  </a:cubicBezTo>
                  <a:cubicBezTo>
                    <a:pt x="74" y="122"/>
                    <a:pt x="92" y="146"/>
                    <a:pt x="92" y="146"/>
                  </a:cubicBezTo>
                  <a:cubicBezTo>
                    <a:pt x="92" y="146"/>
                    <a:pt x="74" y="192"/>
                    <a:pt x="52" y="233"/>
                  </a:cubicBezTo>
                  <a:cubicBezTo>
                    <a:pt x="35" y="280"/>
                    <a:pt x="12" y="332"/>
                    <a:pt x="6" y="390"/>
                  </a:cubicBezTo>
                  <a:cubicBezTo>
                    <a:pt x="6" y="454"/>
                    <a:pt x="0" y="524"/>
                    <a:pt x="0" y="582"/>
                  </a:cubicBezTo>
                  <a:cubicBezTo>
                    <a:pt x="6" y="635"/>
                    <a:pt x="6" y="792"/>
                    <a:pt x="69" y="792"/>
                  </a:cubicBezTo>
                  <a:cubicBezTo>
                    <a:pt x="126" y="792"/>
                    <a:pt x="131" y="699"/>
                    <a:pt x="148" y="664"/>
                  </a:cubicBezTo>
                  <a:cubicBezTo>
                    <a:pt x="160" y="629"/>
                    <a:pt x="200" y="512"/>
                    <a:pt x="205" y="460"/>
                  </a:cubicBezTo>
                  <a:cubicBezTo>
                    <a:pt x="211" y="402"/>
                    <a:pt x="234" y="344"/>
                    <a:pt x="211" y="291"/>
                  </a:cubicBezTo>
                  <a:cubicBezTo>
                    <a:pt x="194" y="239"/>
                    <a:pt x="148" y="157"/>
                    <a:pt x="148" y="146"/>
                  </a:cubicBezTo>
                  <a:cubicBezTo>
                    <a:pt x="148" y="140"/>
                    <a:pt x="177" y="134"/>
                    <a:pt x="188" y="117"/>
                  </a:cubicBezTo>
                  <a:cubicBezTo>
                    <a:pt x="194" y="99"/>
                    <a:pt x="211" y="82"/>
                    <a:pt x="200" y="58"/>
                  </a:cubicBezTo>
                  <a:cubicBezTo>
                    <a:pt x="194" y="29"/>
                    <a:pt x="183" y="6"/>
                    <a:pt x="148" y="0"/>
                  </a:cubicBezTo>
                </a:path>
              </a:pathLst>
            </a:custGeom>
            <a:solidFill>
              <a:srgbClr val="595959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452" y="1140"/>
              <a:ext cx="192" cy="110"/>
            </a:xfrm>
            <a:custGeom>
              <a:avLst/>
              <a:gdLst>
                <a:gd name="T0" fmla="*/ 6 w 1583"/>
                <a:gd name="T1" fmla="*/ 53 h 917"/>
                <a:gd name="T2" fmla="*/ 0 w 1583"/>
                <a:gd name="T3" fmla="*/ 199 h 917"/>
                <a:gd name="T4" fmla="*/ 75 w 1583"/>
                <a:gd name="T5" fmla="*/ 228 h 917"/>
                <a:gd name="T6" fmla="*/ 46 w 1583"/>
                <a:gd name="T7" fmla="*/ 614 h 917"/>
                <a:gd name="T8" fmla="*/ 104 w 1583"/>
                <a:gd name="T9" fmla="*/ 654 h 917"/>
                <a:gd name="T10" fmla="*/ 151 w 1583"/>
                <a:gd name="T11" fmla="*/ 684 h 917"/>
                <a:gd name="T12" fmla="*/ 180 w 1583"/>
                <a:gd name="T13" fmla="*/ 724 h 917"/>
                <a:gd name="T14" fmla="*/ 777 w 1583"/>
                <a:gd name="T15" fmla="*/ 917 h 917"/>
                <a:gd name="T16" fmla="*/ 957 w 1583"/>
                <a:gd name="T17" fmla="*/ 771 h 917"/>
                <a:gd name="T18" fmla="*/ 1287 w 1583"/>
                <a:gd name="T19" fmla="*/ 514 h 917"/>
                <a:gd name="T20" fmla="*/ 1369 w 1583"/>
                <a:gd name="T21" fmla="*/ 362 h 917"/>
                <a:gd name="T22" fmla="*/ 1583 w 1583"/>
                <a:gd name="T23" fmla="*/ 12 h 917"/>
                <a:gd name="T24" fmla="*/ 1548 w 1583"/>
                <a:gd name="T25" fmla="*/ 12 h 917"/>
                <a:gd name="T26" fmla="*/ 1270 w 1583"/>
                <a:gd name="T27" fmla="*/ 141 h 917"/>
                <a:gd name="T28" fmla="*/ 945 w 1583"/>
                <a:gd name="T29" fmla="*/ 362 h 917"/>
                <a:gd name="T30" fmla="*/ 69 w 1583"/>
                <a:gd name="T31" fmla="*/ 65 h 917"/>
                <a:gd name="T32" fmla="*/ 6 w 1583"/>
                <a:gd name="T33" fmla="*/ 53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3" h="917">
                  <a:moveTo>
                    <a:pt x="6" y="53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75" y="228"/>
                    <a:pt x="75" y="228"/>
                    <a:pt x="75" y="228"/>
                  </a:cubicBezTo>
                  <a:cubicBezTo>
                    <a:pt x="46" y="614"/>
                    <a:pt x="46" y="614"/>
                    <a:pt x="46" y="614"/>
                  </a:cubicBezTo>
                  <a:cubicBezTo>
                    <a:pt x="104" y="654"/>
                    <a:pt x="104" y="654"/>
                    <a:pt x="104" y="654"/>
                  </a:cubicBezTo>
                  <a:cubicBezTo>
                    <a:pt x="151" y="684"/>
                    <a:pt x="151" y="684"/>
                    <a:pt x="151" y="684"/>
                  </a:cubicBezTo>
                  <a:cubicBezTo>
                    <a:pt x="180" y="724"/>
                    <a:pt x="180" y="724"/>
                    <a:pt x="180" y="724"/>
                  </a:cubicBezTo>
                  <a:cubicBezTo>
                    <a:pt x="777" y="917"/>
                    <a:pt x="777" y="917"/>
                    <a:pt x="777" y="917"/>
                  </a:cubicBezTo>
                  <a:cubicBezTo>
                    <a:pt x="777" y="917"/>
                    <a:pt x="852" y="835"/>
                    <a:pt x="957" y="771"/>
                  </a:cubicBezTo>
                  <a:cubicBezTo>
                    <a:pt x="1055" y="701"/>
                    <a:pt x="1287" y="514"/>
                    <a:pt x="1287" y="514"/>
                  </a:cubicBezTo>
                  <a:cubicBezTo>
                    <a:pt x="1369" y="362"/>
                    <a:pt x="1369" y="362"/>
                    <a:pt x="1369" y="362"/>
                  </a:cubicBezTo>
                  <a:cubicBezTo>
                    <a:pt x="1369" y="362"/>
                    <a:pt x="1577" y="41"/>
                    <a:pt x="1583" y="12"/>
                  </a:cubicBezTo>
                  <a:cubicBezTo>
                    <a:pt x="1583" y="12"/>
                    <a:pt x="1583" y="0"/>
                    <a:pt x="1548" y="12"/>
                  </a:cubicBezTo>
                  <a:cubicBezTo>
                    <a:pt x="1514" y="30"/>
                    <a:pt x="1345" y="100"/>
                    <a:pt x="1270" y="141"/>
                  </a:cubicBezTo>
                  <a:cubicBezTo>
                    <a:pt x="1195" y="181"/>
                    <a:pt x="1009" y="287"/>
                    <a:pt x="945" y="362"/>
                  </a:cubicBezTo>
                  <a:cubicBezTo>
                    <a:pt x="945" y="362"/>
                    <a:pt x="638" y="170"/>
                    <a:pt x="69" y="65"/>
                  </a:cubicBezTo>
                  <a:lnTo>
                    <a:pt x="6" y="53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>
              <a:off x="520" y="1186"/>
              <a:ext cx="71" cy="58"/>
            </a:xfrm>
            <a:custGeom>
              <a:avLst/>
              <a:gdLst>
                <a:gd name="T0" fmla="*/ 574 w 592"/>
                <a:gd name="T1" fmla="*/ 466 h 483"/>
                <a:gd name="T2" fmla="*/ 580 w 592"/>
                <a:gd name="T3" fmla="*/ 204 h 483"/>
                <a:gd name="T4" fmla="*/ 557 w 592"/>
                <a:gd name="T5" fmla="*/ 99 h 483"/>
                <a:gd name="T6" fmla="*/ 551 w 592"/>
                <a:gd name="T7" fmla="*/ 35 h 483"/>
                <a:gd name="T8" fmla="*/ 527 w 592"/>
                <a:gd name="T9" fmla="*/ 0 h 483"/>
                <a:gd name="T10" fmla="*/ 469 w 592"/>
                <a:gd name="T11" fmla="*/ 52 h 483"/>
                <a:gd name="T12" fmla="*/ 451 w 592"/>
                <a:gd name="T13" fmla="*/ 128 h 483"/>
                <a:gd name="T14" fmla="*/ 457 w 592"/>
                <a:gd name="T15" fmla="*/ 180 h 483"/>
                <a:gd name="T16" fmla="*/ 416 w 592"/>
                <a:gd name="T17" fmla="*/ 209 h 483"/>
                <a:gd name="T18" fmla="*/ 334 w 592"/>
                <a:gd name="T19" fmla="*/ 215 h 483"/>
                <a:gd name="T20" fmla="*/ 234 w 592"/>
                <a:gd name="T21" fmla="*/ 151 h 483"/>
                <a:gd name="T22" fmla="*/ 170 w 592"/>
                <a:gd name="T23" fmla="*/ 128 h 483"/>
                <a:gd name="T24" fmla="*/ 123 w 592"/>
                <a:gd name="T25" fmla="*/ 134 h 483"/>
                <a:gd name="T26" fmla="*/ 158 w 592"/>
                <a:gd name="T27" fmla="*/ 198 h 483"/>
                <a:gd name="T28" fmla="*/ 59 w 592"/>
                <a:gd name="T29" fmla="*/ 122 h 483"/>
                <a:gd name="T30" fmla="*/ 6 w 592"/>
                <a:gd name="T31" fmla="*/ 134 h 483"/>
                <a:gd name="T32" fmla="*/ 12 w 592"/>
                <a:gd name="T33" fmla="*/ 175 h 483"/>
                <a:gd name="T34" fmla="*/ 29 w 592"/>
                <a:gd name="T35" fmla="*/ 192 h 483"/>
                <a:gd name="T36" fmla="*/ 12 w 592"/>
                <a:gd name="T37" fmla="*/ 215 h 483"/>
                <a:gd name="T38" fmla="*/ 76 w 592"/>
                <a:gd name="T39" fmla="*/ 297 h 483"/>
                <a:gd name="T40" fmla="*/ 199 w 592"/>
                <a:gd name="T41" fmla="*/ 396 h 483"/>
                <a:gd name="T42" fmla="*/ 293 w 592"/>
                <a:gd name="T43" fmla="*/ 448 h 483"/>
                <a:gd name="T44" fmla="*/ 422 w 592"/>
                <a:gd name="T45" fmla="*/ 466 h 483"/>
                <a:gd name="T46" fmla="*/ 574 w 592"/>
                <a:gd name="T47" fmla="*/ 466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92" h="483">
                  <a:moveTo>
                    <a:pt x="574" y="466"/>
                  </a:moveTo>
                  <a:cubicBezTo>
                    <a:pt x="574" y="466"/>
                    <a:pt x="592" y="233"/>
                    <a:pt x="580" y="204"/>
                  </a:cubicBezTo>
                  <a:cubicBezTo>
                    <a:pt x="568" y="169"/>
                    <a:pt x="568" y="122"/>
                    <a:pt x="557" y="99"/>
                  </a:cubicBezTo>
                  <a:cubicBezTo>
                    <a:pt x="545" y="76"/>
                    <a:pt x="551" y="46"/>
                    <a:pt x="551" y="35"/>
                  </a:cubicBezTo>
                  <a:cubicBezTo>
                    <a:pt x="551" y="23"/>
                    <a:pt x="545" y="0"/>
                    <a:pt x="527" y="0"/>
                  </a:cubicBezTo>
                  <a:cubicBezTo>
                    <a:pt x="510" y="0"/>
                    <a:pt x="469" y="35"/>
                    <a:pt x="469" y="52"/>
                  </a:cubicBezTo>
                  <a:cubicBezTo>
                    <a:pt x="463" y="76"/>
                    <a:pt x="445" y="110"/>
                    <a:pt x="451" y="128"/>
                  </a:cubicBezTo>
                  <a:cubicBezTo>
                    <a:pt x="457" y="145"/>
                    <a:pt x="481" y="175"/>
                    <a:pt x="457" y="180"/>
                  </a:cubicBezTo>
                  <a:cubicBezTo>
                    <a:pt x="428" y="180"/>
                    <a:pt x="434" y="204"/>
                    <a:pt x="416" y="209"/>
                  </a:cubicBezTo>
                  <a:cubicBezTo>
                    <a:pt x="398" y="215"/>
                    <a:pt x="369" y="227"/>
                    <a:pt x="334" y="215"/>
                  </a:cubicBezTo>
                  <a:cubicBezTo>
                    <a:pt x="293" y="204"/>
                    <a:pt x="258" y="163"/>
                    <a:pt x="234" y="151"/>
                  </a:cubicBezTo>
                  <a:cubicBezTo>
                    <a:pt x="211" y="140"/>
                    <a:pt x="182" y="134"/>
                    <a:pt x="170" y="128"/>
                  </a:cubicBezTo>
                  <a:cubicBezTo>
                    <a:pt x="158" y="122"/>
                    <a:pt x="123" y="122"/>
                    <a:pt x="123" y="134"/>
                  </a:cubicBezTo>
                  <a:cubicBezTo>
                    <a:pt x="123" y="145"/>
                    <a:pt x="147" y="192"/>
                    <a:pt x="158" y="198"/>
                  </a:cubicBezTo>
                  <a:cubicBezTo>
                    <a:pt x="170" y="204"/>
                    <a:pt x="65" y="122"/>
                    <a:pt x="59" y="122"/>
                  </a:cubicBezTo>
                  <a:cubicBezTo>
                    <a:pt x="47" y="116"/>
                    <a:pt x="12" y="116"/>
                    <a:pt x="6" y="134"/>
                  </a:cubicBezTo>
                  <a:cubicBezTo>
                    <a:pt x="0" y="145"/>
                    <a:pt x="0" y="169"/>
                    <a:pt x="12" y="175"/>
                  </a:cubicBezTo>
                  <a:cubicBezTo>
                    <a:pt x="18" y="180"/>
                    <a:pt x="29" y="192"/>
                    <a:pt x="29" y="192"/>
                  </a:cubicBezTo>
                  <a:cubicBezTo>
                    <a:pt x="29" y="192"/>
                    <a:pt x="12" y="192"/>
                    <a:pt x="12" y="215"/>
                  </a:cubicBezTo>
                  <a:cubicBezTo>
                    <a:pt x="18" y="233"/>
                    <a:pt x="41" y="268"/>
                    <a:pt x="76" y="297"/>
                  </a:cubicBezTo>
                  <a:cubicBezTo>
                    <a:pt x="111" y="326"/>
                    <a:pt x="170" y="372"/>
                    <a:pt x="199" y="396"/>
                  </a:cubicBezTo>
                  <a:cubicBezTo>
                    <a:pt x="234" y="425"/>
                    <a:pt x="252" y="442"/>
                    <a:pt x="293" y="448"/>
                  </a:cubicBezTo>
                  <a:cubicBezTo>
                    <a:pt x="334" y="460"/>
                    <a:pt x="393" y="483"/>
                    <a:pt x="422" y="466"/>
                  </a:cubicBezTo>
                  <a:cubicBezTo>
                    <a:pt x="451" y="448"/>
                    <a:pt x="539" y="460"/>
                    <a:pt x="574" y="466"/>
                  </a:cubicBezTo>
                </a:path>
              </a:pathLst>
            </a:custGeom>
            <a:solidFill>
              <a:srgbClr val="939598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1790700" y="1438141"/>
            <a:ext cx="1106072" cy="70019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defTabSz="914400" fontAlgn="base">
              <a:spcBef>
                <a:spcPts val="600"/>
              </a:spcBef>
              <a:spcAft>
                <a:spcPts val="300"/>
              </a:spcAft>
              <a:buClr>
                <a:prstClr val="black"/>
              </a:buClr>
            </a:pPr>
            <a:r>
              <a:rPr lang="en-US" sz="1600" b="1" i="1" kern="0" dirty="0" smtClean="0">
                <a:solidFill>
                  <a:schemeClr val="accent2"/>
                </a:solidFill>
              </a:rPr>
              <a:t>Kinesthetic</a:t>
            </a:r>
          </a:p>
          <a:p>
            <a:pPr defTabSz="914400" fontAlgn="base">
              <a:spcBef>
                <a:spcPts val="600"/>
              </a:spcBef>
              <a:spcAft>
                <a:spcPts val="300"/>
              </a:spcAft>
              <a:buClr>
                <a:prstClr val="black"/>
              </a:buClr>
            </a:pPr>
            <a:r>
              <a:rPr lang="en-US" sz="1600" b="1" i="1" kern="0" dirty="0" smtClean="0">
                <a:solidFill>
                  <a:schemeClr val="accent2"/>
                </a:solidFill>
              </a:rPr>
              <a:t>Learners</a:t>
            </a:r>
            <a:endParaRPr lang="en-US" sz="1600" b="1" i="1" kern="0" dirty="0">
              <a:solidFill>
                <a:schemeClr val="accent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809750" y="2295391"/>
            <a:ext cx="865622" cy="70019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defTabSz="914400" fontAlgn="base">
              <a:spcBef>
                <a:spcPts val="600"/>
              </a:spcBef>
              <a:spcAft>
                <a:spcPts val="300"/>
              </a:spcAft>
              <a:buClr>
                <a:prstClr val="black"/>
              </a:buClr>
            </a:pPr>
            <a:r>
              <a:rPr lang="en-US" sz="1600" b="1" i="1" kern="0" dirty="0" smtClean="0">
                <a:solidFill>
                  <a:schemeClr val="accent3"/>
                </a:solidFill>
              </a:rPr>
              <a:t>Visual</a:t>
            </a:r>
          </a:p>
          <a:p>
            <a:pPr defTabSz="914400" fontAlgn="base">
              <a:spcBef>
                <a:spcPts val="600"/>
              </a:spcBef>
              <a:spcAft>
                <a:spcPts val="300"/>
              </a:spcAft>
              <a:buClr>
                <a:prstClr val="black"/>
              </a:buClr>
            </a:pPr>
            <a:r>
              <a:rPr lang="en-US" sz="1600" b="1" i="1" kern="0" dirty="0" smtClean="0">
                <a:solidFill>
                  <a:schemeClr val="accent3"/>
                </a:solidFill>
              </a:rPr>
              <a:t>Learners</a:t>
            </a:r>
            <a:endParaRPr lang="en-US" sz="1600" b="1" i="1" kern="0" dirty="0">
              <a:solidFill>
                <a:schemeClr val="accent3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866900" y="3228841"/>
            <a:ext cx="900888" cy="70019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defTabSz="914400" fontAlgn="base">
              <a:spcBef>
                <a:spcPts val="600"/>
              </a:spcBef>
              <a:spcAft>
                <a:spcPts val="300"/>
              </a:spcAft>
              <a:buClr>
                <a:prstClr val="black"/>
              </a:buClr>
            </a:pPr>
            <a:r>
              <a:rPr lang="en-US" sz="1600" b="1" i="1" kern="0" dirty="0" smtClean="0">
                <a:solidFill>
                  <a:schemeClr val="tx2"/>
                </a:solidFill>
              </a:rPr>
              <a:t>Auditory </a:t>
            </a:r>
          </a:p>
          <a:p>
            <a:pPr defTabSz="914400" fontAlgn="base">
              <a:spcBef>
                <a:spcPts val="600"/>
              </a:spcBef>
              <a:spcAft>
                <a:spcPts val="300"/>
              </a:spcAft>
              <a:buClr>
                <a:prstClr val="black"/>
              </a:buClr>
            </a:pPr>
            <a:r>
              <a:rPr lang="en-US" sz="1600" b="1" i="1" kern="0" dirty="0" smtClean="0">
                <a:solidFill>
                  <a:schemeClr val="tx2"/>
                </a:solidFill>
              </a:rPr>
              <a:t>Learners</a:t>
            </a:r>
            <a:endParaRPr lang="en-US" sz="1600" b="1" i="1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6594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ep Work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2018 Evalueserve. All rights reserved.</a:t>
            </a:r>
            <a:endParaRPr lang="en-GB" dirty="0"/>
          </a:p>
        </p:txBody>
      </p:sp>
      <p:pic>
        <p:nvPicPr>
          <p:cNvPr id="5" name="图片 62"/>
          <p:cNvPicPr>
            <a:picLocks noChangeAspect="1"/>
          </p:cNvPicPr>
          <p:nvPr/>
        </p:nvPicPr>
        <p:blipFill rotWithShape="1">
          <a:blip r:embed="rId3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-1268872" y="3398382"/>
            <a:ext cx="5216116" cy="132212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grpSp>
        <p:nvGrpSpPr>
          <p:cNvPr id="6" name="Group 5"/>
          <p:cNvGrpSpPr/>
          <p:nvPr/>
        </p:nvGrpSpPr>
        <p:grpSpPr>
          <a:xfrm>
            <a:off x="835515" y="1819564"/>
            <a:ext cx="3940965" cy="1092059"/>
            <a:chOff x="6226640" y="1925823"/>
            <a:chExt cx="3940965" cy="1092059"/>
          </a:xfrm>
        </p:grpSpPr>
        <p:grpSp>
          <p:nvGrpSpPr>
            <p:cNvPr id="7" name="Group 6"/>
            <p:cNvGrpSpPr/>
            <p:nvPr/>
          </p:nvGrpSpPr>
          <p:grpSpPr>
            <a:xfrm>
              <a:off x="6226640" y="1925823"/>
              <a:ext cx="1092058" cy="1092059"/>
              <a:chOff x="5970583" y="1221110"/>
              <a:chExt cx="931488" cy="931488"/>
            </a:xfrm>
          </p:grpSpPr>
          <p:sp>
            <p:nvSpPr>
              <p:cNvPr id="9" name="Teardrop 8"/>
              <p:cNvSpPr/>
              <p:nvPr/>
            </p:nvSpPr>
            <p:spPr>
              <a:xfrm rot="16200000">
                <a:off x="5970583" y="1221110"/>
                <a:ext cx="931488" cy="931488"/>
              </a:xfrm>
              <a:prstGeom prst="teardrop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+mj-lt"/>
                </a:endParaRPr>
              </a:p>
            </p:txBody>
          </p:sp>
          <p:sp>
            <p:nvSpPr>
              <p:cNvPr id="10" name="Freeform 40"/>
              <p:cNvSpPr>
                <a:spLocks noEditPoints="1"/>
              </p:cNvSpPr>
              <p:nvPr/>
            </p:nvSpPr>
            <p:spPr bwMode="auto">
              <a:xfrm>
                <a:off x="6246248" y="1424713"/>
                <a:ext cx="380154" cy="524280"/>
              </a:xfrm>
              <a:custGeom>
                <a:avLst/>
                <a:gdLst>
                  <a:gd name="T0" fmla="*/ 8 w 77"/>
                  <a:gd name="T1" fmla="*/ 0 h 106"/>
                  <a:gd name="T2" fmla="*/ 64 w 77"/>
                  <a:gd name="T3" fmla="*/ 0 h 106"/>
                  <a:gd name="T4" fmla="*/ 73 w 77"/>
                  <a:gd name="T5" fmla="*/ 9 h 106"/>
                  <a:gd name="T6" fmla="*/ 73 w 77"/>
                  <a:gd name="T7" fmla="*/ 62 h 106"/>
                  <a:gd name="T8" fmla="*/ 63 w 77"/>
                  <a:gd name="T9" fmla="*/ 60 h 106"/>
                  <a:gd name="T10" fmla="*/ 63 w 77"/>
                  <a:gd name="T11" fmla="*/ 56 h 106"/>
                  <a:gd name="T12" fmla="*/ 63 w 77"/>
                  <a:gd name="T13" fmla="*/ 11 h 106"/>
                  <a:gd name="T14" fmla="*/ 9 w 77"/>
                  <a:gd name="T15" fmla="*/ 11 h 106"/>
                  <a:gd name="T16" fmla="*/ 9 w 77"/>
                  <a:gd name="T17" fmla="*/ 87 h 106"/>
                  <a:gd name="T18" fmla="*/ 36 w 77"/>
                  <a:gd name="T19" fmla="*/ 87 h 106"/>
                  <a:gd name="T20" fmla="*/ 40 w 77"/>
                  <a:gd name="T21" fmla="*/ 96 h 106"/>
                  <a:gd name="T22" fmla="*/ 8 w 77"/>
                  <a:gd name="T23" fmla="*/ 96 h 106"/>
                  <a:gd name="T24" fmla="*/ 0 w 77"/>
                  <a:gd name="T25" fmla="*/ 88 h 106"/>
                  <a:gd name="T26" fmla="*/ 0 w 77"/>
                  <a:gd name="T27" fmla="*/ 9 h 106"/>
                  <a:gd name="T28" fmla="*/ 8 w 77"/>
                  <a:gd name="T29" fmla="*/ 0 h 106"/>
                  <a:gd name="T30" fmla="*/ 16 w 77"/>
                  <a:gd name="T31" fmla="*/ 47 h 106"/>
                  <a:gd name="T32" fmla="*/ 16 w 77"/>
                  <a:gd name="T33" fmla="*/ 54 h 106"/>
                  <a:gd name="T34" fmla="*/ 36 w 77"/>
                  <a:gd name="T35" fmla="*/ 54 h 106"/>
                  <a:gd name="T36" fmla="*/ 36 w 77"/>
                  <a:gd name="T37" fmla="*/ 47 h 106"/>
                  <a:gd name="T38" fmla="*/ 16 w 77"/>
                  <a:gd name="T39" fmla="*/ 47 h 106"/>
                  <a:gd name="T40" fmla="*/ 16 w 77"/>
                  <a:gd name="T41" fmla="*/ 34 h 106"/>
                  <a:gd name="T42" fmla="*/ 16 w 77"/>
                  <a:gd name="T43" fmla="*/ 41 h 106"/>
                  <a:gd name="T44" fmla="*/ 36 w 77"/>
                  <a:gd name="T45" fmla="*/ 41 h 106"/>
                  <a:gd name="T46" fmla="*/ 36 w 77"/>
                  <a:gd name="T47" fmla="*/ 34 h 106"/>
                  <a:gd name="T48" fmla="*/ 16 w 77"/>
                  <a:gd name="T49" fmla="*/ 34 h 106"/>
                  <a:gd name="T50" fmla="*/ 16 w 77"/>
                  <a:gd name="T51" fmla="*/ 21 h 106"/>
                  <a:gd name="T52" fmla="*/ 16 w 77"/>
                  <a:gd name="T53" fmla="*/ 28 h 106"/>
                  <a:gd name="T54" fmla="*/ 55 w 77"/>
                  <a:gd name="T55" fmla="*/ 28 h 106"/>
                  <a:gd name="T56" fmla="*/ 55 w 77"/>
                  <a:gd name="T57" fmla="*/ 21 h 106"/>
                  <a:gd name="T58" fmla="*/ 16 w 77"/>
                  <a:gd name="T59" fmla="*/ 21 h 106"/>
                  <a:gd name="T60" fmla="*/ 47 w 77"/>
                  <a:gd name="T61" fmla="*/ 42 h 106"/>
                  <a:gd name="T62" fmla="*/ 45 w 77"/>
                  <a:gd name="T63" fmla="*/ 71 h 106"/>
                  <a:gd name="T64" fmla="*/ 43 w 77"/>
                  <a:gd name="T65" fmla="*/ 69 h 106"/>
                  <a:gd name="T66" fmla="*/ 39 w 77"/>
                  <a:gd name="T67" fmla="*/ 71 h 106"/>
                  <a:gd name="T68" fmla="*/ 38 w 77"/>
                  <a:gd name="T69" fmla="*/ 74 h 106"/>
                  <a:gd name="T70" fmla="*/ 48 w 77"/>
                  <a:gd name="T71" fmla="*/ 98 h 106"/>
                  <a:gd name="T72" fmla="*/ 49 w 77"/>
                  <a:gd name="T73" fmla="*/ 106 h 106"/>
                  <a:gd name="T74" fmla="*/ 71 w 77"/>
                  <a:gd name="T75" fmla="*/ 106 h 106"/>
                  <a:gd name="T76" fmla="*/ 71 w 77"/>
                  <a:gd name="T77" fmla="*/ 97 h 106"/>
                  <a:gd name="T78" fmla="*/ 77 w 77"/>
                  <a:gd name="T79" fmla="*/ 73 h 106"/>
                  <a:gd name="T80" fmla="*/ 76 w 77"/>
                  <a:gd name="T81" fmla="*/ 69 h 106"/>
                  <a:gd name="T82" fmla="*/ 71 w 77"/>
                  <a:gd name="T83" fmla="*/ 68 h 106"/>
                  <a:gd name="T84" fmla="*/ 69 w 77"/>
                  <a:gd name="T85" fmla="*/ 70 h 106"/>
                  <a:gd name="T86" fmla="*/ 68 w 77"/>
                  <a:gd name="T87" fmla="*/ 68 h 106"/>
                  <a:gd name="T88" fmla="*/ 64 w 77"/>
                  <a:gd name="T89" fmla="*/ 67 h 106"/>
                  <a:gd name="T90" fmla="*/ 62 w 77"/>
                  <a:gd name="T91" fmla="*/ 68 h 106"/>
                  <a:gd name="T92" fmla="*/ 61 w 77"/>
                  <a:gd name="T93" fmla="*/ 66 h 106"/>
                  <a:gd name="T94" fmla="*/ 57 w 77"/>
                  <a:gd name="T95" fmla="*/ 66 h 106"/>
                  <a:gd name="T96" fmla="*/ 55 w 77"/>
                  <a:gd name="T97" fmla="*/ 42 h 106"/>
                  <a:gd name="T98" fmla="*/ 47 w 77"/>
                  <a:gd name="T99" fmla="*/ 42 h 106"/>
                  <a:gd name="T100" fmla="*/ 25 w 77"/>
                  <a:gd name="T101" fmla="*/ 4 h 106"/>
                  <a:gd name="T102" fmla="*/ 25 w 77"/>
                  <a:gd name="T103" fmla="*/ 7 h 106"/>
                  <a:gd name="T104" fmla="*/ 47 w 77"/>
                  <a:gd name="T105" fmla="*/ 7 h 106"/>
                  <a:gd name="T106" fmla="*/ 47 w 77"/>
                  <a:gd name="T107" fmla="*/ 4 h 106"/>
                  <a:gd name="T108" fmla="*/ 25 w 77"/>
                  <a:gd name="T109" fmla="*/ 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7" h="106">
                    <a:moveTo>
                      <a:pt x="8" y="0"/>
                    </a:moveTo>
                    <a:cubicBezTo>
                      <a:pt x="64" y="0"/>
                      <a:pt x="64" y="0"/>
                      <a:pt x="64" y="0"/>
                    </a:cubicBezTo>
                    <a:cubicBezTo>
                      <a:pt x="69" y="0"/>
                      <a:pt x="73" y="4"/>
                      <a:pt x="73" y="9"/>
                    </a:cubicBezTo>
                    <a:cubicBezTo>
                      <a:pt x="73" y="62"/>
                      <a:pt x="73" y="62"/>
                      <a:pt x="73" y="62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3" y="56"/>
                      <a:pt x="63" y="56"/>
                      <a:pt x="63" y="56"/>
                    </a:cubicBezTo>
                    <a:cubicBezTo>
                      <a:pt x="63" y="11"/>
                      <a:pt x="63" y="11"/>
                      <a:pt x="63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9" y="87"/>
                      <a:pt x="9" y="87"/>
                      <a:pt x="9" y="87"/>
                    </a:cubicBezTo>
                    <a:cubicBezTo>
                      <a:pt x="36" y="87"/>
                      <a:pt x="36" y="87"/>
                      <a:pt x="36" y="87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" y="96"/>
                      <a:pt x="0" y="93"/>
                      <a:pt x="0" y="8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8" y="0"/>
                    </a:cubicBezTo>
                    <a:close/>
                    <a:moveTo>
                      <a:pt x="16" y="47"/>
                    </a:moveTo>
                    <a:cubicBezTo>
                      <a:pt x="16" y="54"/>
                      <a:pt x="16" y="54"/>
                      <a:pt x="16" y="54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16" y="47"/>
                      <a:pt x="16" y="47"/>
                      <a:pt x="16" y="47"/>
                    </a:cubicBezTo>
                    <a:close/>
                    <a:moveTo>
                      <a:pt x="16" y="34"/>
                    </a:moveTo>
                    <a:cubicBezTo>
                      <a:pt x="16" y="41"/>
                      <a:pt x="16" y="41"/>
                      <a:pt x="16" y="41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16" y="34"/>
                      <a:pt x="16" y="34"/>
                      <a:pt x="16" y="34"/>
                    </a:cubicBezTo>
                    <a:close/>
                    <a:moveTo>
                      <a:pt x="16" y="21"/>
                    </a:moveTo>
                    <a:cubicBezTo>
                      <a:pt x="16" y="28"/>
                      <a:pt x="16" y="28"/>
                      <a:pt x="16" y="28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5" y="21"/>
                      <a:pt x="55" y="21"/>
                      <a:pt x="55" y="21"/>
                    </a:cubicBezTo>
                    <a:cubicBezTo>
                      <a:pt x="16" y="21"/>
                      <a:pt x="16" y="21"/>
                      <a:pt x="16" y="21"/>
                    </a:cubicBezTo>
                    <a:close/>
                    <a:moveTo>
                      <a:pt x="47" y="42"/>
                    </a:moveTo>
                    <a:cubicBezTo>
                      <a:pt x="45" y="71"/>
                      <a:pt x="45" y="71"/>
                      <a:pt x="45" y="71"/>
                    </a:cubicBezTo>
                    <a:cubicBezTo>
                      <a:pt x="43" y="69"/>
                      <a:pt x="43" y="69"/>
                      <a:pt x="43" y="69"/>
                    </a:cubicBezTo>
                    <a:cubicBezTo>
                      <a:pt x="39" y="71"/>
                      <a:pt x="39" y="71"/>
                      <a:pt x="39" y="71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48" y="98"/>
                      <a:pt x="48" y="98"/>
                      <a:pt x="48" y="98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71" y="106"/>
                      <a:pt x="71" y="106"/>
                      <a:pt x="71" y="106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7" y="73"/>
                      <a:pt x="77" y="73"/>
                      <a:pt x="77" y="73"/>
                    </a:cubicBezTo>
                    <a:cubicBezTo>
                      <a:pt x="76" y="69"/>
                      <a:pt x="76" y="69"/>
                      <a:pt x="76" y="69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69" y="70"/>
                      <a:pt x="69" y="70"/>
                      <a:pt x="69" y="70"/>
                    </a:cubicBezTo>
                    <a:cubicBezTo>
                      <a:pt x="68" y="68"/>
                      <a:pt x="68" y="68"/>
                      <a:pt x="68" y="68"/>
                    </a:cubicBezTo>
                    <a:cubicBezTo>
                      <a:pt x="64" y="67"/>
                      <a:pt x="64" y="67"/>
                      <a:pt x="64" y="67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1" y="66"/>
                      <a:pt x="61" y="66"/>
                      <a:pt x="61" y="66"/>
                    </a:cubicBezTo>
                    <a:cubicBezTo>
                      <a:pt x="57" y="66"/>
                      <a:pt x="57" y="66"/>
                      <a:pt x="57" y="66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47" y="42"/>
                      <a:pt x="47" y="42"/>
                      <a:pt x="47" y="42"/>
                    </a:cubicBezTo>
                    <a:close/>
                    <a:moveTo>
                      <a:pt x="25" y="4"/>
                    </a:moveTo>
                    <a:cubicBezTo>
                      <a:pt x="25" y="7"/>
                      <a:pt x="25" y="7"/>
                      <a:pt x="25" y="7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47" y="4"/>
                      <a:pt x="47" y="4"/>
                      <a:pt x="47" y="4"/>
                    </a:cubicBezTo>
                    <a:lnTo>
                      <a:pt x="25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8" name="Rounded Rectangle 7"/>
            <p:cNvSpPr/>
            <p:nvPr/>
          </p:nvSpPr>
          <p:spPr>
            <a:xfrm>
              <a:off x="7385025" y="2180939"/>
              <a:ext cx="2782580" cy="7407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  <a:latin typeface="+mj-lt"/>
                </a:rPr>
                <a:t>Determine The Purpose</a:t>
              </a:r>
              <a:endParaRPr lang="en-US" sz="18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852325" y="3343026"/>
            <a:ext cx="3638405" cy="1089618"/>
            <a:chOff x="3590201" y="1928265"/>
            <a:chExt cx="3638405" cy="1089618"/>
          </a:xfrm>
        </p:grpSpPr>
        <p:sp>
          <p:nvSpPr>
            <p:cNvPr id="12" name="Rounded Rectangle 11"/>
            <p:cNvSpPr/>
            <p:nvPr/>
          </p:nvSpPr>
          <p:spPr>
            <a:xfrm>
              <a:off x="4769478" y="2255254"/>
              <a:ext cx="2459128" cy="7407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  <a:latin typeface="+mj-lt"/>
                </a:rPr>
                <a:t>Know Your Audience</a:t>
              </a:r>
              <a:endParaRPr lang="en-US" sz="1400" dirty="0">
                <a:solidFill>
                  <a:schemeClr val="bg2"/>
                </a:solidFill>
              </a:endParaRPr>
            </a:p>
          </p:txBody>
        </p:sp>
        <p:sp>
          <p:nvSpPr>
            <p:cNvPr id="13" name="Teardrop 12"/>
            <p:cNvSpPr/>
            <p:nvPr/>
          </p:nvSpPr>
          <p:spPr>
            <a:xfrm rot="16200000">
              <a:off x="3590067" y="1928399"/>
              <a:ext cx="1089618" cy="1089350"/>
            </a:xfrm>
            <a:prstGeom prst="teardrop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accent3"/>
                </a:solidFill>
                <a:latin typeface="+mj-lt"/>
              </a:endParaRPr>
            </a:p>
          </p:txBody>
        </p:sp>
        <p:sp>
          <p:nvSpPr>
            <p:cNvPr id="14" name="Freeform 46"/>
            <p:cNvSpPr>
              <a:spLocks noEditPoints="1"/>
            </p:cNvSpPr>
            <p:nvPr/>
          </p:nvSpPr>
          <p:spPr bwMode="auto">
            <a:xfrm>
              <a:off x="3818105" y="2161951"/>
              <a:ext cx="491042" cy="619804"/>
            </a:xfrm>
            <a:custGeom>
              <a:avLst/>
              <a:gdLst>
                <a:gd name="T0" fmla="*/ 41 w 95"/>
                <a:gd name="T1" fmla="*/ 0 h 120"/>
                <a:gd name="T2" fmla="*/ 29 w 95"/>
                <a:gd name="T3" fmla="*/ 7 h 120"/>
                <a:gd name="T4" fmla="*/ 29 w 95"/>
                <a:gd name="T5" fmla="*/ 7 h 120"/>
                <a:gd name="T6" fmla="*/ 14 w 95"/>
                <a:gd name="T7" fmla="*/ 1 h 120"/>
                <a:gd name="T8" fmla="*/ 4 w 95"/>
                <a:gd name="T9" fmla="*/ 8 h 120"/>
                <a:gd name="T10" fmla="*/ 0 w 95"/>
                <a:gd name="T11" fmla="*/ 21 h 120"/>
                <a:gd name="T12" fmla="*/ 4 w 95"/>
                <a:gd name="T13" fmla="*/ 34 h 120"/>
                <a:gd name="T14" fmla="*/ 14 w 95"/>
                <a:gd name="T15" fmla="*/ 40 h 120"/>
                <a:gd name="T16" fmla="*/ 31 w 95"/>
                <a:gd name="T17" fmla="*/ 37 h 120"/>
                <a:gd name="T18" fmla="*/ 41 w 95"/>
                <a:gd name="T19" fmla="*/ 41 h 120"/>
                <a:gd name="T20" fmla="*/ 43 w 95"/>
                <a:gd name="T21" fmla="*/ 41 h 120"/>
                <a:gd name="T22" fmla="*/ 57 w 95"/>
                <a:gd name="T23" fmla="*/ 56 h 120"/>
                <a:gd name="T24" fmla="*/ 68 w 95"/>
                <a:gd name="T25" fmla="*/ 58 h 120"/>
                <a:gd name="T26" fmla="*/ 66 w 95"/>
                <a:gd name="T27" fmla="*/ 78 h 120"/>
                <a:gd name="T28" fmla="*/ 65 w 95"/>
                <a:gd name="T29" fmla="*/ 120 h 120"/>
                <a:gd name="T30" fmla="*/ 75 w 95"/>
                <a:gd name="T31" fmla="*/ 120 h 120"/>
                <a:gd name="T32" fmla="*/ 77 w 95"/>
                <a:gd name="T33" fmla="*/ 84 h 120"/>
                <a:gd name="T34" fmla="*/ 82 w 95"/>
                <a:gd name="T35" fmla="*/ 84 h 120"/>
                <a:gd name="T36" fmla="*/ 84 w 95"/>
                <a:gd name="T37" fmla="*/ 120 h 120"/>
                <a:gd name="T38" fmla="*/ 95 w 95"/>
                <a:gd name="T39" fmla="*/ 120 h 120"/>
                <a:gd name="T40" fmla="*/ 92 w 95"/>
                <a:gd name="T41" fmla="*/ 78 h 120"/>
                <a:gd name="T42" fmla="*/ 94 w 95"/>
                <a:gd name="T43" fmla="*/ 41 h 120"/>
                <a:gd name="T44" fmla="*/ 74 w 95"/>
                <a:gd name="T45" fmla="*/ 41 h 120"/>
                <a:gd name="T46" fmla="*/ 70 w 95"/>
                <a:gd name="T47" fmla="*/ 35 h 120"/>
                <a:gd name="T48" fmla="*/ 71 w 95"/>
                <a:gd name="T49" fmla="*/ 35 h 120"/>
                <a:gd name="T50" fmla="*/ 79 w 95"/>
                <a:gd name="T51" fmla="*/ 38 h 120"/>
                <a:gd name="T52" fmla="*/ 91 w 95"/>
                <a:gd name="T53" fmla="*/ 26 h 120"/>
                <a:gd name="T54" fmla="*/ 79 w 95"/>
                <a:gd name="T55" fmla="*/ 14 h 120"/>
                <a:gd name="T56" fmla="*/ 71 w 95"/>
                <a:gd name="T57" fmla="*/ 18 h 120"/>
                <a:gd name="T58" fmla="*/ 48 w 95"/>
                <a:gd name="T59" fmla="*/ 2 h 120"/>
                <a:gd name="T60" fmla="*/ 41 w 95"/>
                <a:gd name="T61" fmla="*/ 0 h 120"/>
                <a:gd name="T62" fmla="*/ 65 w 95"/>
                <a:gd name="T63" fmla="*/ 43 h 120"/>
                <a:gd name="T64" fmla="*/ 58 w 95"/>
                <a:gd name="T65" fmla="*/ 46 h 120"/>
                <a:gd name="T66" fmla="*/ 51 w 95"/>
                <a:gd name="T67" fmla="*/ 39 h 120"/>
                <a:gd name="T68" fmla="*/ 62 w 95"/>
                <a:gd name="T69" fmla="*/ 37 h 120"/>
                <a:gd name="T70" fmla="*/ 65 w 95"/>
                <a:gd name="T71" fmla="*/ 43 h 120"/>
                <a:gd name="T72" fmla="*/ 10 w 95"/>
                <a:gd name="T73" fmla="*/ 12 h 120"/>
                <a:gd name="T74" fmla="*/ 14 w 95"/>
                <a:gd name="T75" fmla="*/ 9 h 120"/>
                <a:gd name="T76" fmla="*/ 18 w 95"/>
                <a:gd name="T77" fmla="*/ 12 h 120"/>
                <a:gd name="T78" fmla="*/ 21 w 95"/>
                <a:gd name="T79" fmla="*/ 21 h 120"/>
                <a:gd name="T80" fmla="*/ 18 w 95"/>
                <a:gd name="T81" fmla="*/ 30 h 120"/>
                <a:gd name="T82" fmla="*/ 14 w 95"/>
                <a:gd name="T83" fmla="*/ 33 h 120"/>
                <a:gd name="T84" fmla="*/ 10 w 95"/>
                <a:gd name="T85" fmla="*/ 30 h 120"/>
                <a:gd name="T86" fmla="*/ 7 w 95"/>
                <a:gd name="T87" fmla="*/ 21 h 120"/>
                <a:gd name="T88" fmla="*/ 10 w 95"/>
                <a:gd name="T89" fmla="*/ 12 h 120"/>
                <a:gd name="T90" fmla="*/ 36 w 95"/>
                <a:gd name="T91" fmla="*/ 11 h 120"/>
                <a:gd name="T92" fmla="*/ 41 w 95"/>
                <a:gd name="T93" fmla="*/ 8 h 120"/>
                <a:gd name="T94" fmla="*/ 47 w 95"/>
                <a:gd name="T95" fmla="*/ 11 h 120"/>
                <a:gd name="T96" fmla="*/ 50 w 95"/>
                <a:gd name="T97" fmla="*/ 21 h 120"/>
                <a:gd name="T98" fmla="*/ 47 w 95"/>
                <a:gd name="T99" fmla="*/ 30 h 120"/>
                <a:gd name="T100" fmla="*/ 41 w 95"/>
                <a:gd name="T101" fmla="*/ 34 h 120"/>
                <a:gd name="T102" fmla="*/ 36 w 95"/>
                <a:gd name="T103" fmla="*/ 30 h 120"/>
                <a:gd name="T104" fmla="*/ 33 w 95"/>
                <a:gd name="T105" fmla="*/ 21 h 120"/>
                <a:gd name="T106" fmla="*/ 36 w 95"/>
                <a:gd name="T107" fmla="*/ 1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5" h="120">
                  <a:moveTo>
                    <a:pt x="41" y="0"/>
                  </a:moveTo>
                  <a:cubicBezTo>
                    <a:pt x="37" y="0"/>
                    <a:pt x="32" y="3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5" y="6"/>
                    <a:pt x="18" y="1"/>
                    <a:pt x="14" y="1"/>
                  </a:cubicBezTo>
                  <a:cubicBezTo>
                    <a:pt x="10" y="1"/>
                    <a:pt x="6" y="4"/>
                    <a:pt x="4" y="8"/>
                  </a:cubicBezTo>
                  <a:cubicBezTo>
                    <a:pt x="1" y="11"/>
                    <a:pt x="0" y="16"/>
                    <a:pt x="0" y="21"/>
                  </a:cubicBezTo>
                  <a:cubicBezTo>
                    <a:pt x="0" y="26"/>
                    <a:pt x="1" y="30"/>
                    <a:pt x="4" y="34"/>
                  </a:cubicBezTo>
                  <a:cubicBezTo>
                    <a:pt x="6" y="38"/>
                    <a:pt x="10" y="40"/>
                    <a:pt x="14" y="40"/>
                  </a:cubicBezTo>
                  <a:cubicBezTo>
                    <a:pt x="18" y="40"/>
                    <a:pt x="27" y="38"/>
                    <a:pt x="31" y="37"/>
                  </a:cubicBezTo>
                  <a:cubicBezTo>
                    <a:pt x="34" y="40"/>
                    <a:pt x="38" y="41"/>
                    <a:pt x="41" y="41"/>
                  </a:cubicBezTo>
                  <a:cubicBezTo>
                    <a:pt x="42" y="41"/>
                    <a:pt x="43" y="41"/>
                    <a:pt x="43" y="41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82" y="84"/>
                    <a:pt x="82" y="84"/>
                    <a:pt x="82" y="84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4" y="41"/>
                    <a:pt x="94" y="41"/>
                    <a:pt x="9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3" y="37"/>
                    <a:pt x="76" y="38"/>
                    <a:pt x="79" y="38"/>
                  </a:cubicBezTo>
                  <a:cubicBezTo>
                    <a:pt x="86" y="38"/>
                    <a:pt x="91" y="33"/>
                    <a:pt x="91" y="26"/>
                  </a:cubicBezTo>
                  <a:cubicBezTo>
                    <a:pt x="91" y="19"/>
                    <a:pt x="86" y="14"/>
                    <a:pt x="79" y="14"/>
                  </a:cubicBezTo>
                  <a:cubicBezTo>
                    <a:pt x="76" y="14"/>
                    <a:pt x="73" y="15"/>
                    <a:pt x="71" y="18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1"/>
                    <a:pt x="44" y="0"/>
                    <a:pt x="41" y="0"/>
                  </a:cubicBezTo>
                  <a:close/>
                  <a:moveTo>
                    <a:pt x="65" y="43"/>
                  </a:moveTo>
                  <a:cubicBezTo>
                    <a:pt x="58" y="46"/>
                    <a:pt x="58" y="46"/>
                    <a:pt x="58" y="46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5" y="43"/>
                    <a:pt x="65" y="43"/>
                    <a:pt x="65" y="43"/>
                  </a:cubicBezTo>
                  <a:close/>
                  <a:moveTo>
                    <a:pt x="10" y="12"/>
                  </a:moveTo>
                  <a:cubicBezTo>
                    <a:pt x="11" y="10"/>
                    <a:pt x="13" y="9"/>
                    <a:pt x="14" y="9"/>
                  </a:cubicBezTo>
                  <a:cubicBezTo>
                    <a:pt x="16" y="9"/>
                    <a:pt x="17" y="10"/>
                    <a:pt x="18" y="12"/>
                  </a:cubicBezTo>
                  <a:cubicBezTo>
                    <a:pt x="20" y="14"/>
                    <a:pt x="21" y="17"/>
                    <a:pt x="21" y="21"/>
                  </a:cubicBezTo>
                  <a:cubicBezTo>
                    <a:pt x="21" y="24"/>
                    <a:pt x="20" y="27"/>
                    <a:pt x="18" y="30"/>
                  </a:cubicBezTo>
                  <a:cubicBezTo>
                    <a:pt x="17" y="31"/>
                    <a:pt x="16" y="33"/>
                    <a:pt x="14" y="33"/>
                  </a:cubicBezTo>
                  <a:cubicBezTo>
                    <a:pt x="13" y="33"/>
                    <a:pt x="11" y="31"/>
                    <a:pt x="10" y="30"/>
                  </a:cubicBezTo>
                  <a:cubicBezTo>
                    <a:pt x="8" y="27"/>
                    <a:pt x="7" y="24"/>
                    <a:pt x="7" y="21"/>
                  </a:cubicBezTo>
                  <a:cubicBezTo>
                    <a:pt x="7" y="17"/>
                    <a:pt x="8" y="14"/>
                    <a:pt x="10" y="12"/>
                  </a:cubicBezTo>
                  <a:close/>
                  <a:moveTo>
                    <a:pt x="36" y="11"/>
                  </a:moveTo>
                  <a:cubicBezTo>
                    <a:pt x="37" y="9"/>
                    <a:pt x="39" y="8"/>
                    <a:pt x="41" y="8"/>
                  </a:cubicBezTo>
                  <a:cubicBezTo>
                    <a:pt x="43" y="8"/>
                    <a:pt x="46" y="9"/>
                    <a:pt x="47" y="11"/>
                  </a:cubicBezTo>
                  <a:cubicBezTo>
                    <a:pt x="49" y="14"/>
                    <a:pt x="50" y="17"/>
                    <a:pt x="50" y="21"/>
                  </a:cubicBezTo>
                  <a:cubicBezTo>
                    <a:pt x="50" y="25"/>
                    <a:pt x="49" y="28"/>
                    <a:pt x="47" y="30"/>
                  </a:cubicBezTo>
                  <a:cubicBezTo>
                    <a:pt x="46" y="32"/>
                    <a:pt x="43" y="34"/>
                    <a:pt x="41" y="34"/>
                  </a:cubicBezTo>
                  <a:cubicBezTo>
                    <a:pt x="39" y="34"/>
                    <a:pt x="37" y="32"/>
                    <a:pt x="36" y="30"/>
                  </a:cubicBezTo>
                  <a:cubicBezTo>
                    <a:pt x="34" y="28"/>
                    <a:pt x="33" y="25"/>
                    <a:pt x="33" y="21"/>
                  </a:cubicBezTo>
                  <a:cubicBezTo>
                    <a:pt x="33" y="17"/>
                    <a:pt x="34" y="14"/>
                    <a:pt x="36" y="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812871" y="5141062"/>
            <a:ext cx="3535731" cy="1309250"/>
            <a:chOff x="1074142" y="1925824"/>
            <a:chExt cx="3535731" cy="1309250"/>
          </a:xfrm>
        </p:grpSpPr>
        <p:sp>
          <p:nvSpPr>
            <p:cNvPr id="20" name="Rounded Rectangle 19"/>
            <p:cNvSpPr/>
            <p:nvPr/>
          </p:nvSpPr>
          <p:spPr>
            <a:xfrm>
              <a:off x="2150745" y="2359790"/>
              <a:ext cx="2459128" cy="875284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  <a:latin typeface="+mj-lt"/>
                </a:rPr>
                <a:t>Plan The Logistics</a:t>
              </a:r>
              <a:endParaRPr lang="en-US" sz="1100" dirty="0" smtClean="0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21" name="Teardrop 20"/>
            <p:cNvSpPr/>
            <p:nvPr/>
          </p:nvSpPr>
          <p:spPr>
            <a:xfrm rot="16200000">
              <a:off x="1074142" y="1925824"/>
              <a:ext cx="1092058" cy="1092058"/>
            </a:xfrm>
            <a:prstGeom prst="teardrop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/>
          </p:nvSpPr>
          <p:spPr bwMode="auto">
            <a:xfrm>
              <a:off x="1349855" y="2155694"/>
              <a:ext cx="540633" cy="588378"/>
            </a:xfrm>
            <a:custGeom>
              <a:avLst/>
              <a:gdLst>
                <a:gd name="T0" fmla="*/ 163 w 211"/>
                <a:gd name="T1" fmla="*/ 0 h 192"/>
                <a:gd name="T2" fmla="*/ 173 w 211"/>
                <a:gd name="T3" fmla="*/ 10 h 192"/>
                <a:gd name="T4" fmla="*/ 156 w 211"/>
                <a:gd name="T5" fmla="*/ 55 h 192"/>
                <a:gd name="T6" fmla="*/ 38 w 211"/>
                <a:gd name="T7" fmla="*/ 17 h 192"/>
                <a:gd name="T8" fmla="*/ 45 w 211"/>
                <a:gd name="T9" fmla="*/ 24 h 192"/>
                <a:gd name="T10" fmla="*/ 59 w 211"/>
                <a:gd name="T11" fmla="*/ 36 h 192"/>
                <a:gd name="T12" fmla="*/ 38 w 211"/>
                <a:gd name="T13" fmla="*/ 45 h 192"/>
                <a:gd name="T14" fmla="*/ 45 w 211"/>
                <a:gd name="T15" fmla="*/ 52 h 192"/>
                <a:gd name="T16" fmla="*/ 59 w 211"/>
                <a:gd name="T17" fmla="*/ 64 h 192"/>
                <a:gd name="T18" fmla="*/ 38 w 211"/>
                <a:gd name="T19" fmla="*/ 74 h 192"/>
                <a:gd name="T20" fmla="*/ 45 w 211"/>
                <a:gd name="T21" fmla="*/ 78 h 192"/>
                <a:gd name="T22" fmla="*/ 59 w 211"/>
                <a:gd name="T23" fmla="*/ 90 h 192"/>
                <a:gd name="T24" fmla="*/ 38 w 211"/>
                <a:gd name="T25" fmla="*/ 100 h 192"/>
                <a:gd name="T26" fmla="*/ 45 w 211"/>
                <a:gd name="T27" fmla="*/ 107 h 192"/>
                <a:gd name="T28" fmla="*/ 59 w 211"/>
                <a:gd name="T29" fmla="*/ 116 h 192"/>
                <a:gd name="T30" fmla="*/ 38 w 211"/>
                <a:gd name="T31" fmla="*/ 128 h 192"/>
                <a:gd name="T32" fmla="*/ 45 w 211"/>
                <a:gd name="T33" fmla="*/ 135 h 192"/>
                <a:gd name="T34" fmla="*/ 59 w 211"/>
                <a:gd name="T35" fmla="*/ 147 h 192"/>
                <a:gd name="T36" fmla="*/ 38 w 211"/>
                <a:gd name="T37" fmla="*/ 156 h 192"/>
                <a:gd name="T38" fmla="*/ 38 w 211"/>
                <a:gd name="T39" fmla="*/ 175 h 192"/>
                <a:gd name="T40" fmla="*/ 156 w 211"/>
                <a:gd name="T41" fmla="*/ 137 h 192"/>
                <a:gd name="T42" fmla="*/ 173 w 211"/>
                <a:gd name="T43" fmla="*/ 182 h 192"/>
                <a:gd name="T44" fmla="*/ 163 w 211"/>
                <a:gd name="T45" fmla="*/ 192 h 192"/>
                <a:gd name="T46" fmla="*/ 22 w 211"/>
                <a:gd name="T47" fmla="*/ 192 h 192"/>
                <a:gd name="T48" fmla="*/ 22 w 211"/>
                <a:gd name="T49" fmla="*/ 171 h 192"/>
                <a:gd name="T50" fmla="*/ 0 w 211"/>
                <a:gd name="T51" fmla="*/ 154 h 192"/>
                <a:gd name="T52" fmla="*/ 22 w 211"/>
                <a:gd name="T53" fmla="*/ 140 h 192"/>
                <a:gd name="T54" fmla="*/ 0 w 211"/>
                <a:gd name="T55" fmla="*/ 126 h 192"/>
                <a:gd name="T56" fmla="*/ 22 w 211"/>
                <a:gd name="T57" fmla="*/ 114 h 192"/>
                <a:gd name="T58" fmla="*/ 0 w 211"/>
                <a:gd name="T59" fmla="*/ 100 h 192"/>
                <a:gd name="T60" fmla="*/ 22 w 211"/>
                <a:gd name="T61" fmla="*/ 88 h 192"/>
                <a:gd name="T62" fmla="*/ 0 w 211"/>
                <a:gd name="T63" fmla="*/ 71 h 192"/>
                <a:gd name="T64" fmla="*/ 22 w 211"/>
                <a:gd name="T65" fmla="*/ 60 h 192"/>
                <a:gd name="T66" fmla="*/ 0 w 211"/>
                <a:gd name="T67" fmla="*/ 45 h 192"/>
                <a:gd name="T68" fmla="*/ 22 w 211"/>
                <a:gd name="T69" fmla="*/ 10 h 192"/>
                <a:gd name="T70" fmla="*/ 31 w 211"/>
                <a:gd name="T71" fmla="*/ 0 h 192"/>
                <a:gd name="T72" fmla="*/ 74 w 211"/>
                <a:gd name="T73" fmla="*/ 93 h 192"/>
                <a:gd name="T74" fmla="*/ 97 w 211"/>
                <a:gd name="T75" fmla="*/ 102 h 192"/>
                <a:gd name="T76" fmla="*/ 74 w 211"/>
                <a:gd name="T77" fmla="*/ 93 h 192"/>
                <a:gd name="T78" fmla="*/ 74 w 211"/>
                <a:gd name="T79" fmla="*/ 71 h 192"/>
                <a:gd name="T80" fmla="*/ 116 w 211"/>
                <a:gd name="T81" fmla="*/ 81 h 192"/>
                <a:gd name="T82" fmla="*/ 74 w 211"/>
                <a:gd name="T83" fmla="*/ 71 h 192"/>
                <a:gd name="T84" fmla="*/ 74 w 211"/>
                <a:gd name="T85" fmla="*/ 52 h 192"/>
                <a:gd name="T86" fmla="*/ 135 w 211"/>
                <a:gd name="T87" fmla="*/ 62 h 192"/>
                <a:gd name="T88" fmla="*/ 74 w 211"/>
                <a:gd name="T89" fmla="*/ 52 h 192"/>
                <a:gd name="T90" fmla="*/ 74 w 211"/>
                <a:gd name="T91" fmla="*/ 34 h 192"/>
                <a:gd name="T92" fmla="*/ 135 w 211"/>
                <a:gd name="T93" fmla="*/ 41 h 192"/>
                <a:gd name="T94" fmla="*/ 74 w 211"/>
                <a:gd name="T95" fmla="*/ 34 h 192"/>
                <a:gd name="T96" fmla="*/ 97 w 211"/>
                <a:gd name="T97" fmla="*/ 152 h 192"/>
                <a:gd name="T98" fmla="*/ 123 w 211"/>
                <a:gd name="T99" fmla="*/ 152 h 192"/>
                <a:gd name="T100" fmla="*/ 99 w 211"/>
                <a:gd name="T101" fmla="*/ 126 h 192"/>
                <a:gd name="T102" fmla="*/ 97 w 211"/>
                <a:gd name="T103" fmla="*/ 152 h 192"/>
                <a:gd name="T104" fmla="*/ 187 w 211"/>
                <a:gd name="T105" fmla="*/ 43 h 192"/>
                <a:gd name="T106" fmla="*/ 135 w 211"/>
                <a:gd name="T107" fmla="*/ 142 h 192"/>
                <a:gd name="T108" fmla="*/ 187 w 211"/>
                <a:gd name="T109" fmla="*/ 4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1" h="192">
                  <a:moveTo>
                    <a:pt x="31" y="0"/>
                  </a:moveTo>
                  <a:lnTo>
                    <a:pt x="163" y="0"/>
                  </a:lnTo>
                  <a:lnTo>
                    <a:pt x="173" y="0"/>
                  </a:lnTo>
                  <a:lnTo>
                    <a:pt x="173" y="10"/>
                  </a:lnTo>
                  <a:lnTo>
                    <a:pt x="173" y="41"/>
                  </a:lnTo>
                  <a:lnTo>
                    <a:pt x="156" y="55"/>
                  </a:lnTo>
                  <a:lnTo>
                    <a:pt x="156" y="17"/>
                  </a:lnTo>
                  <a:lnTo>
                    <a:pt x="38" y="17"/>
                  </a:lnTo>
                  <a:lnTo>
                    <a:pt x="38" y="29"/>
                  </a:lnTo>
                  <a:lnTo>
                    <a:pt x="45" y="24"/>
                  </a:lnTo>
                  <a:lnTo>
                    <a:pt x="55" y="22"/>
                  </a:lnTo>
                  <a:lnTo>
                    <a:pt x="59" y="36"/>
                  </a:lnTo>
                  <a:lnTo>
                    <a:pt x="52" y="41"/>
                  </a:lnTo>
                  <a:lnTo>
                    <a:pt x="38" y="45"/>
                  </a:lnTo>
                  <a:lnTo>
                    <a:pt x="38" y="55"/>
                  </a:lnTo>
                  <a:lnTo>
                    <a:pt x="45" y="52"/>
                  </a:lnTo>
                  <a:lnTo>
                    <a:pt x="55" y="48"/>
                  </a:lnTo>
                  <a:lnTo>
                    <a:pt x="59" y="64"/>
                  </a:lnTo>
                  <a:lnTo>
                    <a:pt x="52" y="67"/>
                  </a:lnTo>
                  <a:lnTo>
                    <a:pt x="38" y="74"/>
                  </a:lnTo>
                  <a:lnTo>
                    <a:pt x="38" y="83"/>
                  </a:lnTo>
                  <a:lnTo>
                    <a:pt x="45" y="78"/>
                  </a:lnTo>
                  <a:lnTo>
                    <a:pt x="55" y="76"/>
                  </a:lnTo>
                  <a:lnTo>
                    <a:pt x="59" y="90"/>
                  </a:lnTo>
                  <a:lnTo>
                    <a:pt x="52" y="95"/>
                  </a:lnTo>
                  <a:lnTo>
                    <a:pt x="38" y="100"/>
                  </a:lnTo>
                  <a:lnTo>
                    <a:pt x="38" y="109"/>
                  </a:lnTo>
                  <a:lnTo>
                    <a:pt x="45" y="107"/>
                  </a:lnTo>
                  <a:lnTo>
                    <a:pt x="55" y="102"/>
                  </a:lnTo>
                  <a:lnTo>
                    <a:pt x="59" y="116"/>
                  </a:lnTo>
                  <a:lnTo>
                    <a:pt x="52" y="121"/>
                  </a:lnTo>
                  <a:lnTo>
                    <a:pt x="38" y="128"/>
                  </a:lnTo>
                  <a:lnTo>
                    <a:pt x="38" y="137"/>
                  </a:lnTo>
                  <a:lnTo>
                    <a:pt x="45" y="135"/>
                  </a:lnTo>
                  <a:lnTo>
                    <a:pt x="55" y="130"/>
                  </a:lnTo>
                  <a:lnTo>
                    <a:pt x="59" y="147"/>
                  </a:lnTo>
                  <a:lnTo>
                    <a:pt x="52" y="149"/>
                  </a:lnTo>
                  <a:lnTo>
                    <a:pt x="38" y="156"/>
                  </a:lnTo>
                  <a:lnTo>
                    <a:pt x="38" y="171"/>
                  </a:lnTo>
                  <a:lnTo>
                    <a:pt x="38" y="175"/>
                  </a:lnTo>
                  <a:lnTo>
                    <a:pt x="156" y="175"/>
                  </a:lnTo>
                  <a:lnTo>
                    <a:pt x="156" y="137"/>
                  </a:lnTo>
                  <a:lnTo>
                    <a:pt x="173" y="123"/>
                  </a:lnTo>
                  <a:lnTo>
                    <a:pt x="173" y="182"/>
                  </a:lnTo>
                  <a:lnTo>
                    <a:pt x="173" y="192"/>
                  </a:lnTo>
                  <a:lnTo>
                    <a:pt x="163" y="192"/>
                  </a:lnTo>
                  <a:lnTo>
                    <a:pt x="31" y="192"/>
                  </a:lnTo>
                  <a:lnTo>
                    <a:pt x="22" y="192"/>
                  </a:lnTo>
                  <a:lnTo>
                    <a:pt x="22" y="182"/>
                  </a:lnTo>
                  <a:lnTo>
                    <a:pt x="22" y="171"/>
                  </a:lnTo>
                  <a:lnTo>
                    <a:pt x="5" y="171"/>
                  </a:lnTo>
                  <a:lnTo>
                    <a:pt x="0" y="154"/>
                  </a:lnTo>
                  <a:lnTo>
                    <a:pt x="22" y="145"/>
                  </a:lnTo>
                  <a:lnTo>
                    <a:pt x="22" y="140"/>
                  </a:lnTo>
                  <a:lnTo>
                    <a:pt x="5" y="140"/>
                  </a:lnTo>
                  <a:lnTo>
                    <a:pt x="0" y="126"/>
                  </a:lnTo>
                  <a:lnTo>
                    <a:pt x="22" y="116"/>
                  </a:lnTo>
                  <a:lnTo>
                    <a:pt x="22" y="114"/>
                  </a:lnTo>
                  <a:lnTo>
                    <a:pt x="5" y="114"/>
                  </a:lnTo>
                  <a:lnTo>
                    <a:pt x="0" y="100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5" y="88"/>
                  </a:lnTo>
                  <a:lnTo>
                    <a:pt x="0" y="71"/>
                  </a:lnTo>
                  <a:lnTo>
                    <a:pt x="22" y="62"/>
                  </a:lnTo>
                  <a:lnTo>
                    <a:pt x="22" y="60"/>
                  </a:lnTo>
                  <a:lnTo>
                    <a:pt x="5" y="60"/>
                  </a:lnTo>
                  <a:lnTo>
                    <a:pt x="0" y="45"/>
                  </a:lnTo>
                  <a:lnTo>
                    <a:pt x="22" y="36"/>
                  </a:lnTo>
                  <a:lnTo>
                    <a:pt x="22" y="10"/>
                  </a:lnTo>
                  <a:lnTo>
                    <a:pt x="22" y="0"/>
                  </a:lnTo>
                  <a:lnTo>
                    <a:pt x="31" y="0"/>
                  </a:lnTo>
                  <a:lnTo>
                    <a:pt x="31" y="0"/>
                  </a:lnTo>
                  <a:close/>
                  <a:moveTo>
                    <a:pt x="74" y="93"/>
                  </a:moveTo>
                  <a:lnTo>
                    <a:pt x="74" y="102"/>
                  </a:lnTo>
                  <a:lnTo>
                    <a:pt x="97" y="102"/>
                  </a:lnTo>
                  <a:lnTo>
                    <a:pt x="97" y="93"/>
                  </a:lnTo>
                  <a:lnTo>
                    <a:pt x="74" y="93"/>
                  </a:lnTo>
                  <a:lnTo>
                    <a:pt x="74" y="93"/>
                  </a:lnTo>
                  <a:close/>
                  <a:moveTo>
                    <a:pt x="74" y="71"/>
                  </a:moveTo>
                  <a:lnTo>
                    <a:pt x="74" y="81"/>
                  </a:lnTo>
                  <a:lnTo>
                    <a:pt x="116" y="81"/>
                  </a:lnTo>
                  <a:lnTo>
                    <a:pt x="116" y="71"/>
                  </a:lnTo>
                  <a:lnTo>
                    <a:pt x="74" y="71"/>
                  </a:lnTo>
                  <a:lnTo>
                    <a:pt x="74" y="71"/>
                  </a:lnTo>
                  <a:close/>
                  <a:moveTo>
                    <a:pt x="74" y="52"/>
                  </a:moveTo>
                  <a:lnTo>
                    <a:pt x="74" y="62"/>
                  </a:lnTo>
                  <a:lnTo>
                    <a:pt x="135" y="62"/>
                  </a:lnTo>
                  <a:lnTo>
                    <a:pt x="135" y="52"/>
                  </a:lnTo>
                  <a:lnTo>
                    <a:pt x="74" y="52"/>
                  </a:lnTo>
                  <a:lnTo>
                    <a:pt x="74" y="52"/>
                  </a:lnTo>
                  <a:close/>
                  <a:moveTo>
                    <a:pt x="74" y="34"/>
                  </a:moveTo>
                  <a:lnTo>
                    <a:pt x="74" y="41"/>
                  </a:lnTo>
                  <a:lnTo>
                    <a:pt x="135" y="41"/>
                  </a:lnTo>
                  <a:lnTo>
                    <a:pt x="135" y="34"/>
                  </a:lnTo>
                  <a:lnTo>
                    <a:pt x="74" y="34"/>
                  </a:lnTo>
                  <a:lnTo>
                    <a:pt x="74" y="34"/>
                  </a:lnTo>
                  <a:close/>
                  <a:moveTo>
                    <a:pt x="97" y="152"/>
                  </a:moveTo>
                  <a:lnTo>
                    <a:pt x="111" y="152"/>
                  </a:lnTo>
                  <a:lnTo>
                    <a:pt x="123" y="152"/>
                  </a:lnTo>
                  <a:lnTo>
                    <a:pt x="111" y="137"/>
                  </a:lnTo>
                  <a:lnTo>
                    <a:pt x="99" y="126"/>
                  </a:lnTo>
                  <a:lnTo>
                    <a:pt x="99" y="140"/>
                  </a:lnTo>
                  <a:lnTo>
                    <a:pt x="97" y="152"/>
                  </a:lnTo>
                  <a:lnTo>
                    <a:pt x="97" y="152"/>
                  </a:lnTo>
                  <a:close/>
                  <a:moveTo>
                    <a:pt x="187" y="43"/>
                  </a:moveTo>
                  <a:lnTo>
                    <a:pt x="111" y="116"/>
                  </a:lnTo>
                  <a:lnTo>
                    <a:pt x="135" y="142"/>
                  </a:lnTo>
                  <a:lnTo>
                    <a:pt x="211" y="67"/>
                  </a:lnTo>
                  <a:lnTo>
                    <a:pt x="187" y="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pic>
        <p:nvPicPr>
          <p:cNvPr id="23" name="图片 62"/>
          <p:cNvPicPr>
            <a:picLocks noChangeAspect="1"/>
          </p:cNvPicPr>
          <p:nvPr/>
        </p:nvPicPr>
        <p:blipFill rotWithShape="1">
          <a:blip r:embed="rId3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3093578" y="3417432"/>
            <a:ext cx="5216116" cy="132212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grpSp>
        <p:nvGrpSpPr>
          <p:cNvPr id="24" name="Group 23"/>
          <p:cNvGrpSpPr/>
          <p:nvPr/>
        </p:nvGrpSpPr>
        <p:grpSpPr>
          <a:xfrm>
            <a:off x="5156271" y="1826554"/>
            <a:ext cx="4020759" cy="1099700"/>
            <a:chOff x="1074142" y="1925824"/>
            <a:chExt cx="4020759" cy="1099700"/>
          </a:xfrm>
        </p:grpSpPr>
        <p:sp>
          <p:nvSpPr>
            <p:cNvPr id="25" name="Rounded Rectangle 24"/>
            <p:cNvSpPr/>
            <p:nvPr/>
          </p:nvSpPr>
          <p:spPr>
            <a:xfrm>
              <a:off x="2150745" y="2150240"/>
              <a:ext cx="2944156" cy="875284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  <a:latin typeface="+mj-lt"/>
                </a:rPr>
                <a:t>Plan The Coordinates</a:t>
              </a:r>
              <a:endParaRPr lang="en-US" sz="1100" dirty="0" smtClean="0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26" name="Teardrop 25"/>
            <p:cNvSpPr/>
            <p:nvPr/>
          </p:nvSpPr>
          <p:spPr>
            <a:xfrm rot="16200000">
              <a:off x="1074142" y="1925824"/>
              <a:ext cx="1092058" cy="1092058"/>
            </a:xfrm>
            <a:prstGeom prst="teardrop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1349855" y="2155694"/>
              <a:ext cx="540633" cy="588378"/>
            </a:xfrm>
            <a:custGeom>
              <a:avLst/>
              <a:gdLst>
                <a:gd name="T0" fmla="*/ 163 w 211"/>
                <a:gd name="T1" fmla="*/ 0 h 192"/>
                <a:gd name="T2" fmla="*/ 173 w 211"/>
                <a:gd name="T3" fmla="*/ 10 h 192"/>
                <a:gd name="T4" fmla="*/ 156 w 211"/>
                <a:gd name="T5" fmla="*/ 55 h 192"/>
                <a:gd name="T6" fmla="*/ 38 w 211"/>
                <a:gd name="T7" fmla="*/ 17 h 192"/>
                <a:gd name="T8" fmla="*/ 45 w 211"/>
                <a:gd name="T9" fmla="*/ 24 h 192"/>
                <a:gd name="T10" fmla="*/ 59 w 211"/>
                <a:gd name="T11" fmla="*/ 36 h 192"/>
                <a:gd name="T12" fmla="*/ 38 w 211"/>
                <a:gd name="T13" fmla="*/ 45 h 192"/>
                <a:gd name="T14" fmla="*/ 45 w 211"/>
                <a:gd name="T15" fmla="*/ 52 h 192"/>
                <a:gd name="T16" fmla="*/ 59 w 211"/>
                <a:gd name="T17" fmla="*/ 64 h 192"/>
                <a:gd name="T18" fmla="*/ 38 w 211"/>
                <a:gd name="T19" fmla="*/ 74 h 192"/>
                <a:gd name="T20" fmla="*/ 45 w 211"/>
                <a:gd name="T21" fmla="*/ 78 h 192"/>
                <a:gd name="T22" fmla="*/ 59 w 211"/>
                <a:gd name="T23" fmla="*/ 90 h 192"/>
                <a:gd name="T24" fmla="*/ 38 w 211"/>
                <a:gd name="T25" fmla="*/ 100 h 192"/>
                <a:gd name="T26" fmla="*/ 45 w 211"/>
                <a:gd name="T27" fmla="*/ 107 h 192"/>
                <a:gd name="T28" fmla="*/ 59 w 211"/>
                <a:gd name="T29" fmla="*/ 116 h 192"/>
                <a:gd name="T30" fmla="*/ 38 w 211"/>
                <a:gd name="T31" fmla="*/ 128 h 192"/>
                <a:gd name="T32" fmla="*/ 45 w 211"/>
                <a:gd name="T33" fmla="*/ 135 h 192"/>
                <a:gd name="T34" fmla="*/ 59 w 211"/>
                <a:gd name="T35" fmla="*/ 147 h 192"/>
                <a:gd name="T36" fmla="*/ 38 w 211"/>
                <a:gd name="T37" fmla="*/ 156 h 192"/>
                <a:gd name="T38" fmla="*/ 38 w 211"/>
                <a:gd name="T39" fmla="*/ 175 h 192"/>
                <a:gd name="T40" fmla="*/ 156 w 211"/>
                <a:gd name="T41" fmla="*/ 137 h 192"/>
                <a:gd name="T42" fmla="*/ 173 w 211"/>
                <a:gd name="T43" fmla="*/ 182 h 192"/>
                <a:gd name="T44" fmla="*/ 163 w 211"/>
                <a:gd name="T45" fmla="*/ 192 h 192"/>
                <a:gd name="T46" fmla="*/ 22 w 211"/>
                <a:gd name="T47" fmla="*/ 192 h 192"/>
                <a:gd name="T48" fmla="*/ 22 w 211"/>
                <a:gd name="T49" fmla="*/ 171 h 192"/>
                <a:gd name="T50" fmla="*/ 0 w 211"/>
                <a:gd name="T51" fmla="*/ 154 h 192"/>
                <a:gd name="T52" fmla="*/ 22 w 211"/>
                <a:gd name="T53" fmla="*/ 140 h 192"/>
                <a:gd name="T54" fmla="*/ 0 w 211"/>
                <a:gd name="T55" fmla="*/ 126 h 192"/>
                <a:gd name="T56" fmla="*/ 22 w 211"/>
                <a:gd name="T57" fmla="*/ 114 h 192"/>
                <a:gd name="T58" fmla="*/ 0 w 211"/>
                <a:gd name="T59" fmla="*/ 100 h 192"/>
                <a:gd name="T60" fmla="*/ 22 w 211"/>
                <a:gd name="T61" fmla="*/ 88 h 192"/>
                <a:gd name="T62" fmla="*/ 0 w 211"/>
                <a:gd name="T63" fmla="*/ 71 h 192"/>
                <a:gd name="T64" fmla="*/ 22 w 211"/>
                <a:gd name="T65" fmla="*/ 60 h 192"/>
                <a:gd name="T66" fmla="*/ 0 w 211"/>
                <a:gd name="T67" fmla="*/ 45 h 192"/>
                <a:gd name="T68" fmla="*/ 22 w 211"/>
                <a:gd name="T69" fmla="*/ 10 h 192"/>
                <a:gd name="T70" fmla="*/ 31 w 211"/>
                <a:gd name="T71" fmla="*/ 0 h 192"/>
                <a:gd name="T72" fmla="*/ 74 w 211"/>
                <a:gd name="T73" fmla="*/ 93 h 192"/>
                <a:gd name="T74" fmla="*/ 97 w 211"/>
                <a:gd name="T75" fmla="*/ 102 h 192"/>
                <a:gd name="T76" fmla="*/ 74 w 211"/>
                <a:gd name="T77" fmla="*/ 93 h 192"/>
                <a:gd name="T78" fmla="*/ 74 w 211"/>
                <a:gd name="T79" fmla="*/ 71 h 192"/>
                <a:gd name="T80" fmla="*/ 116 w 211"/>
                <a:gd name="T81" fmla="*/ 81 h 192"/>
                <a:gd name="T82" fmla="*/ 74 w 211"/>
                <a:gd name="T83" fmla="*/ 71 h 192"/>
                <a:gd name="T84" fmla="*/ 74 w 211"/>
                <a:gd name="T85" fmla="*/ 52 h 192"/>
                <a:gd name="T86" fmla="*/ 135 w 211"/>
                <a:gd name="T87" fmla="*/ 62 h 192"/>
                <a:gd name="T88" fmla="*/ 74 w 211"/>
                <a:gd name="T89" fmla="*/ 52 h 192"/>
                <a:gd name="T90" fmla="*/ 74 w 211"/>
                <a:gd name="T91" fmla="*/ 34 h 192"/>
                <a:gd name="T92" fmla="*/ 135 w 211"/>
                <a:gd name="T93" fmla="*/ 41 h 192"/>
                <a:gd name="T94" fmla="*/ 74 w 211"/>
                <a:gd name="T95" fmla="*/ 34 h 192"/>
                <a:gd name="T96" fmla="*/ 97 w 211"/>
                <a:gd name="T97" fmla="*/ 152 h 192"/>
                <a:gd name="T98" fmla="*/ 123 w 211"/>
                <a:gd name="T99" fmla="*/ 152 h 192"/>
                <a:gd name="T100" fmla="*/ 99 w 211"/>
                <a:gd name="T101" fmla="*/ 126 h 192"/>
                <a:gd name="T102" fmla="*/ 97 w 211"/>
                <a:gd name="T103" fmla="*/ 152 h 192"/>
                <a:gd name="T104" fmla="*/ 187 w 211"/>
                <a:gd name="T105" fmla="*/ 43 h 192"/>
                <a:gd name="T106" fmla="*/ 135 w 211"/>
                <a:gd name="T107" fmla="*/ 142 h 192"/>
                <a:gd name="T108" fmla="*/ 187 w 211"/>
                <a:gd name="T109" fmla="*/ 4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1" h="192">
                  <a:moveTo>
                    <a:pt x="31" y="0"/>
                  </a:moveTo>
                  <a:lnTo>
                    <a:pt x="163" y="0"/>
                  </a:lnTo>
                  <a:lnTo>
                    <a:pt x="173" y="0"/>
                  </a:lnTo>
                  <a:lnTo>
                    <a:pt x="173" y="10"/>
                  </a:lnTo>
                  <a:lnTo>
                    <a:pt x="173" y="41"/>
                  </a:lnTo>
                  <a:lnTo>
                    <a:pt x="156" y="55"/>
                  </a:lnTo>
                  <a:lnTo>
                    <a:pt x="156" y="17"/>
                  </a:lnTo>
                  <a:lnTo>
                    <a:pt x="38" y="17"/>
                  </a:lnTo>
                  <a:lnTo>
                    <a:pt x="38" y="29"/>
                  </a:lnTo>
                  <a:lnTo>
                    <a:pt x="45" y="24"/>
                  </a:lnTo>
                  <a:lnTo>
                    <a:pt x="55" y="22"/>
                  </a:lnTo>
                  <a:lnTo>
                    <a:pt x="59" y="36"/>
                  </a:lnTo>
                  <a:lnTo>
                    <a:pt x="52" y="41"/>
                  </a:lnTo>
                  <a:lnTo>
                    <a:pt x="38" y="45"/>
                  </a:lnTo>
                  <a:lnTo>
                    <a:pt x="38" y="55"/>
                  </a:lnTo>
                  <a:lnTo>
                    <a:pt x="45" y="52"/>
                  </a:lnTo>
                  <a:lnTo>
                    <a:pt x="55" y="48"/>
                  </a:lnTo>
                  <a:lnTo>
                    <a:pt x="59" y="64"/>
                  </a:lnTo>
                  <a:lnTo>
                    <a:pt x="52" y="67"/>
                  </a:lnTo>
                  <a:lnTo>
                    <a:pt x="38" y="74"/>
                  </a:lnTo>
                  <a:lnTo>
                    <a:pt x="38" y="83"/>
                  </a:lnTo>
                  <a:lnTo>
                    <a:pt x="45" y="78"/>
                  </a:lnTo>
                  <a:lnTo>
                    <a:pt x="55" y="76"/>
                  </a:lnTo>
                  <a:lnTo>
                    <a:pt x="59" y="90"/>
                  </a:lnTo>
                  <a:lnTo>
                    <a:pt x="52" y="95"/>
                  </a:lnTo>
                  <a:lnTo>
                    <a:pt x="38" y="100"/>
                  </a:lnTo>
                  <a:lnTo>
                    <a:pt x="38" y="109"/>
                  </a:lnTo>
                  <a:lnTo>
                    <a:pt x="45" y="107"/>
                  </a:lnTo>
                  <a:lnTo>
                    <a:pt x="55" y="102"/>
                  </a:lnTo>
                  <a:lnTo>
                    <a:pt x="59" y="116"/>
                  </a:lnTo>
                  <a:lnTo>
                    <a:pt x="52" y="121"/>
                  </a:lnTo>
                  <a:lnTo>
                    <a:pt x="38" y="128"/>
                  </a:lnTo>
                  <a:lnTo>
                    <a:pt x="38" y="137"/>
                  </a:lnTo>
                  <a:lnTo>
                    <a:pt x="45" y="135"/>
                  </a:lnTo>
                  <a:lnTo>
                    <a:pt x="55" y="130"/>
                  </a:lnTo>
                  <a:lnTo>
                    <a:pt x="59" y="147"/>
                  </a:lnTo>
                  <a:lnTo>
                    <a:pt x="52" y="149"/>
                  </a:lnTo>
                  <a:lnTo>
                    <a:pt x="38" y="156"/>
                  </a:lnTo>
                  <a:lnTo>
                    <a:pt x="38" y="171"/>
                  </a:lnTo>
                  <a:lnTo>
                    <a:pt x="38" y="175"/>
                  </a:lnTo>
                  <a:lnTo>
                    <a:pt x="156" y="175"/>
                  </a:lnTo>
                  <a:lnTo>
                    <a:pt x="156" y="137"/>
                  </a:lnTo>
                  <a:lnTo>
                    <a:pt x="173" y="123"/>
                  </a:lnTo>
                  <a:lnTo>
                    <a:pt x="173" y="182"/>
                  </a:lnTo>
                  <a:lnTo>
                    <a:pt x="173" y="192"/>
                  </a:lnTo>
                  <a:lnTo>
                    <a:pt x="163" y="192"/>
                  </a:lnTo>
                  <a:lnTo>
                    <a:pt x="31" y="192"/>
                  </a:lnTo>
                  <a:lnTo>
                    <a:pt x="22" y="192"/>
                  </a:lnTo>
                  <a:lnTo>
                    <a:pt x="22" y="182"/>
                  </a:lnTo>
                  <a:lnTo>
                    <a:pt x="22" y="171"/>
                  </a:lnTo>
                  <a:lnTo>
                    <a:pt x="5" y="171"/>
                  </a:lnTo>
                  <a:lnTo>
                    <a:pt x="0" y="154"/>
                  </a:lnTo>
                  <a:lnTo>
                    <a:pt x="22" y="145"/>
                  </a:lnTo>
                  <a:lnTo>
                    <a:pt x="22" y="140"/>
                  </a:lnTo>
                  <a:lnTo>
                    <a:pt x="5" y="140"/>
                  </a:lnTo>
                  <a:lnTo>
                    <a:pt x="0" y="126"/>
                  </a:lnTo>
                  <a:lnTo>
                    <a:pt x="22" y="116"/>
                  </a:lnTo>
                  <a:lnTo>
                    <a:pt x="22" y="114"/>
                  </a:lnTo>
                  <a:lnTo>
                    <a:pt x="5" y="114"/>
                  </a:lnTo>
                  <a:lnTo>
                    <a:pt x="0" y="100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5" y="88"/>
                  </a:lnTo>
                  <a:lnTo>
                    <a:pt x="0" y="71"/>
                  </a:lnTo>
                  <a:lnTo>
                    <a:pt x="22" y="62"/>
                  </a:lnTo>
                  <a:lnTo>
                    <a:pt x="22" y="60"/>
                  </a:lnTo>
                  <a:lnTo>
                    <a:pt x="5" y="60"/>
                  </a:lnTo>
                  <a:lnTo>
                    <a:pt x="0" y="45"/>
                  </a:lnTo>
                  <a:lnTo>
                    <a:pt x="22" y="36"/>
                  </a:lnTo>
                  <a:lnTo>
                    <a:pt x="22" y="10"/>
                  </a:lnTo>
                  <a:lnTo>
                    <a:pt x="22" y="0"/>
                  </a:lnTo>
                  <a:lnTo>
                    <a:pt x="31" y="0"/>
                  </a:lnTo>
                  <a:lnTo>
                    <a:pt x="31" y="0"/>
                  </a:lnTo>
                  <a:close/>
                  <a:moveTo>
                    <a:pt x="74" y="93"/>
                  </a:moveTo>
                  <a:lnTo>
                    <a:pt x="74" y="102"/>
                  </a:lnTo>
                  <a:lnTo>
                    <a:pt x="97" y="102"/>
                  </a:lnTo>
                  <a:lnTo>
                    <a:pt x="97" y="93"/>
                  </a:lnTo>
                  <a:lnTo>
                    <a:pt x="74" y="93"/>
                  </a:lnTo>
                  <a:lnTo>
                    <a:pt x="74" y="93"/>
                  </a:lnTo>
                  <a:close/>
                  <a:moveTo>
                    <a:pt x="74" y="71"/>
                  </a:moveTo>
                  <a:lnTo>
                    <a:pt x="74" y="81"/>
                  </a:lnTo>
                  <a:lnTo>
                    <a:pt x="116" y="81"/>
                  </a:lnTo>
                  <a:lnTo>
                    <a:pt x="116" y="71"/>
                  </a:lnTo>
                  <a:lnTo>
                    <a:pt x="74" y="71"/>
                  </a:lnTo>
                  <a:lnTo>
                    <a:pt x="74" y="71"/>
                  </a:lnTo>
                  <a:close/>
                  <a:moveTo>
                    <a:pt x="74" y="52"/>
                  </a:moveTo>
                  <a:lnTo>
                    <a:pt x="74" y="62"/>
                  </a:lnTo>
                  <a:lnTo>
                    <a:pt x="135" y="62"/>
                  </a:lnTo>
                  <a:lnTo>
                    <a:pt x="135" y="52"/>
                  </a:lnTo>
                  <a:lnTo>
                    <a:pt x="74" y="52"/>
                  </a:lnTo>
                  <a:lnTo>
                    <a:pt x="74" y="52"/>
                  </a:lnTo>
                  <a:close/>
                  <a:moveTo>
                    <a:pt x="74" y="34"/>
                  </a:moveTo>
                  <a:lnTo>
                    <a:pt x="74" y="41"/>
                  </a:lnTo>
                  <a:lnTo>
                    <a:pt x="135" y="41"/>
                  </a:lnTo>
                  <a:lnTo>
                    <a:pt x="135" y="34"/>
                  </a:lnTo>
                  <a:lnTo>
                    <a:pt x="74" y="34"/>
                  </a:lnTo>
                  <a:lnTo>
                    <a:pt x="74" y="34"/>
                  </a:lnTo>
                  <a:close/>
                  <a:moveTo>
                    <a:pt x="97" y="152"/>
                  </a:moveTo>
                  <a:lnTo>
                    <a:pt x="111" y="152"/>
                  </a:lnTo>
                  <a:lnTo>
                    <a:pt x="123" y="152"/>
                  </a:lnTo>
                  <a:lnTo>
                    <a:pt x="111" y="137"/>
                  </a:lnTo>
                  <a:lnTo>
                    <a:pt x="99" y="126"/>
                  </a:lnTo>
                  <a:lnTo>
                    <a:pt x="99" y="140"/>
                  </a:lnTo>
                  <a:lnTo>
                    <a:pt x="97" y="152"/>
                  </a:lnTo>
                  <a:lnTo>
                    <a:pt x="97" y="152"/>
                  </a:lnTo>
                  <a:close/>
                  <a:moveTo>
                    <a:pt x="187" y="43"/>
                  </a:moveTo>
                  <a:lnTo>
                    <a:pt x="111" y="116"/>
                  </a:lnTo>
                  <a:lnTo>
                    <a:pt x="135" y="142"/>
                  </a:lnTo>
                  <a:lnTo>
                    <a:pt x="211" y="67"/>
                  </a:lnTo>
                  <a:lnTo>
                    <a:pt x="187" y="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178915" y="3476914"/>
            <a:ext cx="3998115" cy="1092059"/>
            <a:chOff x="6226640" y="1925823"/>
            <a:chExt cx="3998115" cy="1092059"/>
          </a:xfrm>
        </p:grpSpPr>
        <p:grpSp>
          <p:nvGrpSpPr>
            <p:cNvPr id="29" name="Group 28"/>
            <p:cNvGrpSpPr/>
            <p:nvPr/>
          </p:nvGrpSpPr>
          <p:grpSpPr>
            <a:xfrm>
              <a:off x="6226640" y="1925823"/>
              <a:ext cx="1092058" cy="1092059"/>
              <a:chOff x="5970583" y="1221110"/>
              <a:chExt cx="931488" cy="931488"/>
            </a:xfrm>
          </p:grpSpPr>
          <p:sp>
            <p:nvSpPr>
              <p:cNvPr id="31" name="Teardrop 30"/>
              <p:cNvSpPr/>
              <p:nvPr/>
            </p:nvSpPr>
            <p:spPr>
              <a:xfrm rot="16200000">
                <a:off x="5970583" y="1221110"/>
                <a:ext cx="931488" cy="931488"/>
              </a:xfrm>
              <a:prstGeom prst="teardrop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+mj-lt"/>
                </a:endParaRPr>
              </a:p>
            </p:txBody>
          </p:sp>
          <p:sp>
            <p:nvSpPr>
              <p:cNvPr id="32" name="Freeform 40"/>
              <p:cNvSpPr>
                <a:spLocks noEditPoints="1"/>
              </p:cNvSpPr>
              <p:nvPr/>
            </p:nvSpPr>
            <p:spPr bwMode="auto">
              <a:xfrm>
                <a:off x="6246248" y="1424713"/>
                <a:ext cx="380154" cy="524280"/>
              </a:xfrm>
              <a:custGeom>
                <a:avLst/>
                <a:gdLst>
                  <a:gd name="T0" fmla="*/ 8 w 77"/>
                  <a:gd name="T1" fmla="*/ 0 h 106"/>
                  <a:gd name="T2" fmla="*/ 64 w 77"/>
                  <a:gd name="T3" fmla="*/ 0 h 106"/>
                  <a:gd name="T4" fmla="*/ 73 w 77"/>
                  <a:gd name="T5" fmla="*/ 9 h 106"/>
                  <a:gd name="T6" fmla="*/ 73 w 77"/>
                  <a:gd name="T7" fmla="*/ 62 h 106"/>
                  <a:gd name="T8" fmla="*/ 63 w 77"/>
                  <a:gd name="T9" fmla="*/ 60 h 106"/>
                  <a:gd name="T10" fmla="*/ 63 w 77"/>
                  <a:gd name="T11" fmla="*/ 56 h 106"/>
                  <a:gd name="T12" fmla="*/ 63 w 77"/>
                  <a:gd name="T13" fmla="*/ 11 h 106"/>
                  <a:gd name="T14" fmla="*/ 9 w 77"/>
                  <a:gd name="T15" fmla="*/ 11 h 106"/>
                  <a:gd name="T16" fmla="*/ 9 w 77"/>
                  <a:gd name="T17" fmla="*/ 87 h 106"/>
                  <a:gd name="T18" fmla="*/ 36 w 77"/>
                  <a:gd name="T19" fmla="*/ 87 h 106"/>
                  <a:gd name="T20" fmla="*/ 40 w 77"/>
                  <a:gd name="T21" fmla="*/ 96 h 106"/>
                  <a:gd name="T22" fmla="*/ 8 w 77"/>
                  <a:gd name="T23" fmla="*/ 96 h 106"/>
                  <a:gd name="T24" fmla="*/ 0 w 77"/>
                  <a:gd name="T25" fmla="*/ 88 h 106"/>
                  <a:gd name="T26" fmla="*/ 0 w 77"/>
                  <a:gd name="T27" fmla="*/ 9 h 106"/>
                  <a:gd name="T28" fmla="*/ 8 w 77"/>
                  <a:gd name="T29" fmla="*/ 0 h 106"/>
                  <a:gd name="T30" fmla="*/ 16 w 77"/>
                  <a:gd name="T31" fmla="*/ 47 h 106"/>
                  <a:gd name="T32" fmla="*/ 16 w 77"/>
                  <a:gd name="T33" fmla="*/ 54 h 106"/>
                  <a:gd name="T34" fmla="*/ 36 w 77"/>
                  <a:gd name="T35" fmla="*/ 54 h 106"/>
                  <a:gd name="T36" fmla="*/ 36 w 77"/>
                  <a:gd name="T37" fmla="*/ 47 h 106"/>
                  <a:gd name="T38" fmla="*/ 16 w 77"/>
                  <a:gd name="T39" fmla="*/ 47 h 106"/>
                  <a:gd name="T40" fmla="*/ 16 w 77"/>
                  <a:gd name="T41" fmla="*/ 34 h 106"/>
                  <a:gd name="T42" fmla="*/ 16 w 77"/>
                  <a:gd name="T43" fmla="*/ 41 h 106"/>
                  <a:gd name="T44" fmla="*/ 36 w 77"/>
                  <a:gd name="T45" fmla="*/ 41 h 106"/>
                  <a:gd name="T46" fmla="*/ 36 w 77"/>
                  <a:gd name="T47" fmla="*/ 34 h 106"/>
                  <a:gd name="T48" fmla="*/ 16 w 77"/>
                  <a:gd name="T49" fmla="*/ 34 h 106"/>
                  <a:gd name="T50" fmla="*/ 16 w 77"/>
                  <a:gd name="T51" fmla="*/ 21 h 106"/>
                  <a:gd name="T52" fmla="*/ 16 w 77"/>
                  <a:gd name="T53" fmla="*/ 28 h 106"/>
                  <a:gd name="T54" fmla="*/ 55 w 77"/>
                  <a:gd name="T55" fmla="*/ 28 h 106"/>
                  <a:gd name="T56" fmla="*/ 55 w 77"/>
                  <a:gd name="T57" fmla="*/ 21 h 106"/>
                  <a:gd name="T58" fmla="*/ 16 w 77"/>
                  <a:gd name="T59" fmla="*/ 21 h 106"/>
                  <a:gd name="T60" fmla="*/ 47 w 77"/>
                  <a:gd name="T61" fmla="*/ 42 h 106"/>
                  <a:gd name="T62" fmla="*/ 45 w 77"/>
                  <a:gd name="T63" fmla="*/ 71 h 106"/>
                  <a:gd name="T64" fmla="*/ 43 w 77"/>
                  <a:gd name="T65" fmla="*/ 69 h 106"/>
                  <a:gd name="T66" fmla="*/ 39 w 77"/>
                  <a:gd name="T67" fmla="*/ 71 h 106"/>
                  <a:gd name="T68" fmla="*/ 38 w 77"/>
                  <a:gd name="T69" fmla="*/ 74 h 106"/>
                  <a:gd name="T70" fmla="*/ 48 w 77"/>
                  <a:gd name="T71" fmla="*/ 98 h 106"/>
                  <a:gd name="T72" fmla="*/ 49 w 77"/>
                  <a:gd name="T73" fmla="*/ 106 h 106"/>
                  <a:gd name="T74" fmla="*/ 71 w 77"/>
                  <a:gd name="T75" fmla="*/ 106 h 106"/>
                  <a:gd name="T76" fmla="*/ 71 w 77"/>
                  <a:gd name="T77" fmla="*/ 97 h 106"/>
                  <a:gd name="T78" fmla="*/ 77 w 77"/>
                  <a:gd name="T79" fmla="*/ 73 h 106"/>
                  <a:gd name="T80" fmla="*/ 76 w 77"/>
                  <a:gd name="T81" fmla="*/ 69 h 106"/>
                  <a:gd name="T82" fmla="*/ 71 w 77"/>
                  <a:gd name="T83" fmla="*/ 68 h 106"/>
                  <a:gd name="T84" fmla="*/ 69 w 77"/>
                  <a:gd name="T85" fmla="*/ 70 h 106"/>
                  <a:gd name="T86" fmla="*/ 68 w 77"/>
                  <a:gd name="T87" fmla="*/ 68 h 106"/>
                  <a:gd name="T88" fmla="*/ 64 w 77"/>
                  <a:gd name="T89" fmla="*/ 67 h 106"/>
                  <a:gd name="T90" fmla="*/ 62 w 77"/>
                  <a:gd name="T91" fmla="*/ 68 h 106"/>
                  <a:gd name="T92" fmla="*/ 61 w 77"/>
                  <a:gd name="T93" fmla="*/ 66 h 106"/>
                  <a:gd name="T94" fmla="*/ 57 w 77"/>
                  <a:gd name="T95" fmla="*/ 66 h 106"/>
                  <a:gd name="T96" fmla="*/ 55 w 77"/>
                  <a:gd name="T97" fmla="*/ 42 h 106"/>
                  <a:gd name="T98" fmla="*/ 47 w 77"/>
                  <a:gd name="T99" fmla="*/ 42 h 106"/>
                  <a:gd name="T100" fmla="*/ 25 w 77"/>
                  <a:gd name="T101" fmla="*/ 4 h 106"/>
                  <a:gd name="T102" fmla="*/ 25 w 77"/>
                  <a:gd name="T103" fmla="*/ 7 h 106"/>
                  <a:gd name="T104" fmla="*/ 47 w 77"/>
                  <a:gd name="T105" fmla="*/ 7 h 106"/>
                  <a:gd name="T106" fmla="*/ 47 w 77"/>
                  <a:gd name="T107" fmla="*/ 4 h 106"/>
                  <a:gd name="T108" fmla="*/ 25 w 77"/>
                  <a:gd name="T109" fmla="*/ 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7" h="106">
                    <a:moveTo>
                      <a:pt x="8" y="0"/>
                    </a:moveTo>
                    <a:cubicBezTo>
                      <a:pt x="64" y="0"/>
                      <a:pt x="64" y="0"/>
                      <a:pt x="64" y="0"/>
                    </a:cubicBezTo>
                    <a:cubicBezTo>
                      <a:pt x="69" y="0"/>
                      <a:pt x="73" y="4"/>
                      <a:pt x="73" y="9"/>
                    </a:cubicBezTo>
                    <a:cubicBezTo>
                      <a:pt x="73" y="62"/>
                      <a:pt x="73" y="62"/>
                      <a:pt x="73" y="62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3" y="56"/>
                      <a:pt x="63" y="56"/>
                      <a:pt x="63" y="56"/>
                    </a:cubicBezTo>
                    <a:cubicBezTo>
                      <a:pt x="63" y="11"/>
                      <a:pt x="63" y="11"/>
                      <a:pt x="63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9" y="87"/>
                      <a:pt x="9" y="87"/>
                      <a:pt x="9" y="87"/>
                    </a:cubicBezTo>
                    <a:cubicBezTo>
                      <a:pt x="36" y="87"/>
                      <a:pt x="36" y="87"/>
                      <a:pt x="36" y="87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" y="96"/>
                      <a:pt x="0" y="93"/>
                      <a:pt x="0" y="8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8" y="0"/>
                    </a:cubicBezTo>
                    <a:close/>
                    <a:moveTo>
                      <a:pt x="16" y="47"/>
                    </a:moveTo>
                    <a:cubicBezTo>
                      <a:pt x="16" y="54"/>
                      <a:pt x="16" y="54"/>
                      <a:pt x="16" y="54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16" y="47"/>
                      <a:pt x="16" y="47"/>
                      <a:pt x="16" y="47"/>
                    </a:cubicBezTo>
                    <a:close/>
                    <a:moveTo>
                      <a:pt x="16" y="34"/>
                    </a:moveTo>
                    <a:cubicBezTo>
                      <a:pt x="16" y="41"/>
                      <a:pt x="16" y="41"/>
                      <a:pt x="16" y="41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16" y="34"/>
                      <a:pt x="16" y="34"/>
                      <a:pt x="16" y="34"/>
                    </a:cubicBezTo>
                    <a:close/>
                    <a:moveTo>
                      <a:pt x="16" y="21"/>
                    </a:moveTo>
                    <a:cubicBezTo>
                      <a:pt x="16" y="28"/>
                      <a:pt x="16" y="28"/>
                      <a:pt x="16" y="28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5" y="21"/>
                      <a:pt x="55" y="21"/>
                      <a:pt x="55" y="21"/>
                    </a:cubicBezTo>
                    <a:cubicBezTo>
                      <a:pt x="16" y="21"/>
                      <a:pt x="16" y="21"/>
                      <a:pt x="16" y="21"/>
                    </a:cubicBezTo>
                    <a:close/>
                    <a:moveTo>
                      <a:pt x="47" y="42"/>
                    </a:moveTo>
                    <a:cubicBezTo>
                      <a:pt x="45" y="71"/>
                      <a:pt x="45" y="71"/>
                      <a:pt x="45" y="71"/>
                    </a:cubicBezTo>
                    <a:cubicBezTo>
                      <a:pt x="43" y="69"/>
                      <a:pt x="43" y="69"/>
                      <a:pt x="43" y="69"/>
                    </a:cubicBezTo>
                    <a:cubicBezTo>
                      <a:pt x="39" y="71"/>
                      <a:pt x="39" y="71"/>
                      <a:pt x="39" y="71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48" y="98"/>
                      <a:pt x="48" y="98"/>
                      <a:pt x="48" y="98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71" y="106"/>
                      <a:pt x="71" y="106"/>
                      <a:pt x="71" y="106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7" y="73"/>
                      <a:pt x="77" y="73"/>
                      <a:pt x="77" y="73"/>
                    </a:cubicBezTo>
                    <a:cubicBezTo>
                      <a:pt x="76" y="69"/>
                      <a:pt x="76" y="69"/>
                      <a:pt x="76" y="69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69" y="70"/>
                      <a:pt x="69" y="70"/>
                      <a:pt x="69" y="70"/>
                    </a:cubicBezTo>
                    <a:cubicBezTo>
                      <a:pt x="68" y="68"/>
                      <a:pt x="68" y="68"/>
                      <a:pt x="68" y="68"/>
                    </a:cubicBezTo>
                    <a:cubicBezTo>
                      <a:pt x="64" y="67"/>
                      <a:pt x="64" y="67"/>
                      <a:pt x="64" y="67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1" y="66"/>
                      <a:pt x="61" y="66"/>
                      <a:pt x="61" y="66"/>
                    </a:cubicBezTo>
                    <a:cubicBezTo>
                      <a:pt x="57" y="66"/>
                      <a:pt x="57" y="66"/>
                      <a:pt x="57" y="66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47" y="42"/>
                      <a:pt x="47" y="42"/>
                      <a:pt x="47" y="42"/>
                    </a:cubicBezTo>
                    <a:close/>
                    <a:moveTo>
                      <a:pt x="25" y="4"/>
                    </a:moveTo>
                    <a:cubicBezTo>
                      <a:pt x="25" y="7"/>
                      <a:pt x="25" y="7"/>
                      <a:pt x="25" y="7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47" y="4"/>
                      <a:pt x="47" y="4"/>
                      <a:pt x="47" y="4"/>
                    </a:cubicBezTo>
                    <a:lnTo>
                      <a:pt x="25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30" name="Rounded Rectangle 29"/>
            <p:cNvSpPr/>
            <p:nvPr/>
          </p:nvSpPr>
          <p:spPr>
            <a:xfrm>
              <a:off x="7442175" y="2161889"/>
              <a:ext cx="2782580" cy="7407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r>
                <a:rPr lang="en-US" sz="1800" b="1" dirty="0" smtClean="0">
                  <a:solidFill>
                    <a:schemeClr val="bg2"/>
                  </a:solidFill>
                  <a:latin typeface="+mj-lt"/>
                </a:rPr>
                <a:t>Organize</a:t>
              </a:r>
              <a:endParaRPr lang="en-US" sz="18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218666" y="5109749"/>
            <a:ext cx="3740036" cy="1092059"/>
            <a:chOff x="8781016" y="1928399"/>
            <a:chExt cx="3740036" cy="1092059"/>
          </a:xfrm>
        </p:grpSpPr>
        <p:sp>
          <p:nvSpPr>
            <p:cNvPr id="16" name="Teardrop 15"/>
            <p:cNvSpPr/>
            <p:nvPr/>
          </p:nvSpPr>
          <p:spPr>
            <a:xfrm rot="16200000">
              <a:off x="8781015" y="1928400"/>
              <a:ext cx="1092059" cy="1092058"/>
            </a:xfrm>
            <a:prstGeom prst="teardrop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+mj-lt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10061924" y="2183307"/>
              <a:ext cx="2459128" cy="74075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r>
                <a:rPr lang="en-US" sz="1800" b="1" dirty="0" smtClean="0">
                  <a:solidFill>
                    <a:schemeClr val="bg2"/>
                  </a:solidFill>
                  <a:latin typeface="+mj-lt"/>
                </a:rPr>
                <a:t>Rehearse</a:t>
              </a:r>
              <a:endParaRPr lang="en-US" sz="1400" dirty="0">
                <a:solidFill>
                  <a:schemeClr val="bg2"/>
                </a:solidFill>
              </a:endParaRPr>
            </a:p>
          </p:txBody>
        </p:sp>
        <p:sp>
          <p:nvSpPr>
            <p:cNvPr id="18" name="Freeform 45"/>
            <p:cNvSpPr>
              <a:spLocks noEditPoints="1"/>
            </p:cNvSpPr>
            <p:nvPr/>
          </p:nvSpPr>
          <p:spPr bwMode="auto">
            <a:xfrm>
              <a:off x="9050418" y="2164523"/>
              <a:ext cx="604222" cy="617232"/>
            </a:xfrm>
            <a:custGeom>
              <a:avLst/>
              <a:gdLst>
                <a:gd name="T0" fmla="*/ 6 w 96"/>
                <a:gd name="T1" fmla="*/ 27 h 102"/>
                <a:gd name="T2" fmla="*/ 26 w 96"/>
                <a:gd name="T3" fmla="*/ 27 h 102"/>
                <a:gd name="T4" fmla="*/ 82 w 96"/>
                <a:gd name="T5" fmla="*/ 10 h 102"/>
                <a:gd name="T6" fmla="*/ 91 w 96"/>
                <a:gd name="T7" fmla="*/ 0 h 102"/>
                <a:gd name="T8" fmla="*/ 82 w 96"/>
                <a:gd name="T9" fmla="*/ 10 h 102"/>
                <a:gd name="T10" fmla="*/ 84 w 96"/>
                <a:gd name="T11" fmla="*/ 21 h 102"/>
                <a:gd name="T12" fmla="*/ 96 w 96"/>
                <a:gd name="T13" fmla="*/ 24 h 102"/>
                <a:gd name="T14" fmla="*/ 80 w 96"/>
                <a:gd name="T15" fmla="*/ 39 h 102"/>
                <a:gd name="T16" fmla="*/ 94 w 96"/>
                <a:gd name="T17" fmla="*/ 39 h 102"/>
                <a:gd name="T18" fmla="*/ 80 w 96"/>
                <a:gd name="T19" fmla="*/ 39 h 102"/>
                <a:gd name="T20" fmla="*/ 40 w 96"/>
                <a:gd name="T21" fmla="*/ 43 h 102"/>
                <a:gd name="T22" fmla="*/ 45 w 96"/>
                <a:gd name="T23" fmla="*/ 40 h 102"/>
                <a:gd name="T24" fmla="*/ 64 w 96"/>
                <a:gd name="T25" fmla="*/ 0 h 102"/>
                <a:gd name="T26" fmla="*/ 82 w 96"/>
                <a:gd name="T27" fmla="*/ 23 h 102"/>
                <a:gd name="T28" fmla="*/ 66 w 96"/>
                <a:gd name="T29" fmla="*/ 45 h 102"/>
                <a:gd name="T30" fmla="*/ 66 w 96"/>
                <a:gd name="T31" fmla="*/ 45 h 102"/>
                <a:gd name="T32" fmla="*/ 56 w 96"/>
                <a:gd name="T33" fmla="*/ 43 h 102"/>
                <a:gd name="T34" fmla="*/ 50 w 96"/>
                <a:gd name="T35" fmla="*/ 48 h 102"/>
                <a:gd name="T36" fmla="*/ 42 w 96"/>
                <a:gd name="T37" fmla="*/ 48 h 102"/>
                <a:gd name="T38" fmla="*/ 26 w 96"/>
                <a:gd name="T39" fmla="*/ 52 h 102"/>
                <a:gd name="T40" fmla="*/ 28 w 96"/>
                <a:gd name="T41" fmla="*/ 102 h 102"/>
                <a:gd name="T42" fmla="*/ 18 w 96"/>
                <a:gd name="T43" fmla="*/ 74 h 102"/>
                <a:gd name="T44" fmla="*/ 13 w 96"/>
                <a:gd name="T45" fmla="*/ 102 h 102"/>
                <a:gd name="T46" fmla="*/ 6 w 96"/>
                <a:gd name="T47" fmla="*/ 69 h 102"/>
                <a:gd name="T48" fmla="*/ 4 w 96"/>
                <a:gd name="T49" fmla="*/ 39 h 102"/>
                <a:gd name="T50" fmla="*/ 14 w 96"/>
                <a:gd name="T51" fmla="*/ 40 h 102"/>
                <a:gd name="T52" fmla="*/ 12 w 96"/>
                <a:gd name="T53" fmla="*/ 58 h 102"/>
                <a:gd name="T54" fmla="*/ 16 w 96"/>
                <a:gd name="T55" fmla="*/ 61 h 102"/>
                <a:gd name="T56" fmla="*/ 16 w 96"/>
                <a:gd name="T57" fmla="*/ 61 h 102"/>
                <a:gd name="T58" fmla="*/ 20 w 96"/>
                <a:gd name="T59" fmla="*/ 58 h 102"/>
                <a:gd name="T60" fmla="*/ 18 w 96"/>
                <a:gd name="T61" fmla="*/ 40 h 102"/>
                <a:gd name="T62" fmla="*/ 25 w 96"/>
                <a:gd name="T63" fmla="*/ 39 h 102"/>
                <a:gd name="T64" fmla="*/ 35 w 96"/>
                <a:gd name="T65" fmla="*/ 45 h 102"/>
                <a:gd name="T66" fmla="*/ 35 w 96"/>
                <a:gd name="T67" fmla="*/ 38 h 102"/>
                <a:gd name="T68" fmla="*/ 28 w 96"/>
                <a:gd name="T69" fmla="*/ 29 h 102"/>
                <a:gd name="T70" fmla="*/ 52 w 96"/>
                <a:gd name="T71" fmla="*/ 6 h 102"/>
                <a:gd name="T72" fmla="*/ 72 w 96"/>
                <a:gd name="T73" fmla="*/ 11 h 102"/>
                <a:gd name="T74" fmla="*/ 56 w 96"/>
                <a:gd name="T75" fmla="*/ 11 h 102"/>
                <a:gd name="T76" fmla="*/ 71 w 96"/>
                <a:gd name="T77" fmla="*/ 16 h 102"/>
                <a:gd name="T78" fmla="*/ 58 w 96"/>
                <a:gd name="T79" fmla="*/ 36 h 102"/>
                <a:gd name="T80" fmla="*/ 72 w 96"/>
                <a:gd name="T81" fmla="*/ 34 h 102"/>
                <a:gd name="T82" fmla="*/ 72 w 96"/>
                <a:gd name="T83" fmla="*/ 11 h 102"/>
                <a:gd name="T84" fmla="*/ 56 w 96"/>
                <a:gd name="T85" fmla="*/ 21 h 102"/>
                <a:gd name="T86" fmla="*/ 66 w 96"/>
                <a:gd name="T87" fmla="*/ 1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102">
                  <a:moveTo>
                    <a:pt x="16" y="17"/>
                  </a:moveTo>
                  <a:cubicBezTo>
                    <a:pt x="11" y="17"/>
                    <a:pt x="6" y="21"/>
                    <a:pt x="6" y="27"/>
                  </a:cubicBezTo>
                  <a:cubicBezTo>
                    <a:pt x="6" y="32"/>
                    <a:pt x="11" y="36"/>
                    <a:pt x="16" y="36"/>
                  </a:cubicBezTo>
                  <a:cubicBezTo>
                    <a:pt x="22" y="36"/>
                    <a:pt x="26" y="32"/>
                    <a:pt x="26" y="27"/>
                  </a:cubicBezTo>
                  <a:cubicBezTo>
                    <a:pt x="26" y="21"/>
                    <a:pt x="22" y="17"/>
                    <a:pt x="16" y="17"/>
                  </a:cubicBezTo>
                  <a:close/>
                  <a:moveTo>
                    <a:pt x="82" y="10"/>
                  </a:moveTo>
                  <a:cubicBezTo>
                    <a:pt x="82" y="7"/>
                    <a:pt x="82" y="7"/>
                    <a:pt x="82" y="7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82" y="10"/>
                    <a:pt x="82" y="10"/>
                    <a:pt x="82" y="10"/>
                  </a:cubicBezTo>
                  <a:close/>
                  <a:moveTo>
                    <a:pt x="84" y="24"/>
                  </a:moveTo>
                  <a:cubicBezTo>
                    <a:pt x="84" y="21"/>
                    <a:pt x="84" y="21"/>
                    <a:pt x="84" y="21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84" y="24"/>
                    <a:pt x="84" y="24"/>
                    <a:pt x="84" y="24"/>
                  </a:cubicBezTo>
                  <a:close/>
                  <a:moveTo>
                    <a:pt x="80" y="39"/>
                  </a:moveTo>
                  <a:cubicBezTo>
                    <a:pt x="82" y="37"/>
                    <a:pt x="82" y="37"/>
                    <a:pt x="82" y="37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0" y="39"/>
                    <a:pt x="80" y="39"/>
                    <a:pt x="80" y="39"/>
                  </a:cubicBezTo>
                  <a:close/>
                  <a:moveTo>
                    <a:pt x="40" y="39"/>
                  </a:moveTo>
                  <a:cubicBezTo>
                    <a:pt x="40" y="43"/>
                    <a:pt x="40" y="43"/>
                    <a:pt x="40" y="43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64" y="0"/>
                  </a:moveTo>
                  <a:cubicBezTo>
                    <a:pt x="69" y="0"/>
                    <a:pt x="74" y="3"/>
                    <a:pt x="77" y="7"/>
                  </a:cubicBezTo>
                  <a:cubicBezTo>
                    <a:pt x="80" y="11"/>
                    <a:pt x="82" y="17"/>
                    <a:pt x="82" y="23"/>
                  </a:cubicBezTo>
                  <a:cubicBezTo>
                    <a:pt x="82" y="29"/>
                    <a:pt x="80" y="34"/>
                    <a:pt x="77" y="38"/>
                  </a:cubicBezTo>
                  <a:cubicBezTo>
                    <a:pt x="74" y="42"/>
                    <a:pt x="70" y="44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5" y="45"/>
                    <a:pt x="65" y="45"/>
                    <a:pt x="64" y="45"/>
                  </a:cubicBezTo>
                  <a:cubicBezTo>
                    <a:pt x="61" y="45"/>
                    <a:pt x="59" y="44"/>
                    <a:pt x="56" y="43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5" y="35"/>
                    <a:pt x="24" y="32"/>
                    <a:pt x="28" y="29"/>
                  </a:cubicBezTo>
                  <a:cubicBezTo>
                    <a:pt x="37" y="21"/>
                    <a:pt x="43" y="15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5" y="3"/>
                    <a:pt x="59" y="0"/>
                    <a:pt x="64" y="0"/>
                  </a:cubicBezTo>
                  <a:close/>
                  <a:moveTo>
                    <a:pt x="72" y="11"/>
                  </a:moveTo>
                  <a:cubicBezTo>
                    <a:pt x="70" y="8"/>
                    <a:pt x="67" y="6"/>
                    <a:pt x="64" y="6"/>
                  </a:cubicBezTo>
                  <a:cubicBezTo>
                    <a:pt x="61" y="6"/>
                    <a:pt x="58" y="8"/>
                    <a:pt x="56" y="11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2" y="20"/>
                    <a:pt x="73" y="24"/>
                    <a:pt x="71" y="29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60" y="38"/>
                    <a:pt x="62" y="39"/>
                    <a:pt x="64" y="39"/>
                  </a:cubicBezTo>
                  <a:cubicBezTo>
                    <a:pt x="67" y="39"/>
                    <a:pt x="70" y="37"/>
                    <a:pt x="72" y="34"/>
                  </a:cubicBezTo>
                  <a:cubicBezTo>
                    <a:pt x="74" y="31"/>
                    <a:pt x="75" y="27"/>
                    <a:pt x="75" y="23"/>
                  </a:cubicBezTo>
                  <a:cubicBezTo>
                    <a:pt x="75" y="18"/>
                    <a:pt x="74" y="14"/>
                    <a:pt x="72" y="11"/>
                  </a:cubicBezTo>
                  <a:close/>
                  <a:moveTo>
                    <a:pt x="56" y="17"/>
                  </a:moveTo>
                  <a:cubicBezTo>
                    <a:pt x="55" y="18"/>
                    <a:pt x="55" y="19"/>
                    <a:pt x="56" y="21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2" y="18"/>
                    <a:pt x="59" y="17"/>
                    <a:pt x="56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1937316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quenc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2018 Evalueserve. All rights reserved.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 bwMode="auto">
          <a:xfrm>
            <a:off x="685800" y="1409700"/>
            <a:ext cx="2647950" cy="12763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n-US" sz="1800" b="1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Rapport Building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04850" y="2800350"/>
            <a:ext cx="2647950" cy="127635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n-US" sz="1800" b="1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Opening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23900" y="4210050"/>
            <a:ext cx="2647950" cy="1276350"/>
          </a:xfrm>
          <a:prstGeom prst="rect">
            <a:avLst/>
          </a:prstGeom>
          <a:solidFill>
            <a:srgbClr val="315EA5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n-US" sz="1800" b="1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Presenting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42950" y="5619750"/>
            <a:ext cx="2647950" cy="12763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n-US" sz="1800" b="1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rPr>
              <a:t>Concluding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3352800" y="1409700"/>
            <a:ext cx="6675897" cy="12763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Relation </a:t>
            </a:r>
            <a:r>
              <a:rPr lang="en-US" altLang="en-US" sz="1400" dirty="0" smtClean="0">
                <a:solidFill>
                  <a:schemeClr val="bg2">
                    <a:lumMod val="75000"/>
                  </a:schemeClr>
                </a:solidFill>
              </a:rPr>
              <a:t>is marked </a:t>
            </a: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by harmony or affinity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Start before you begin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People listen to people they like</a:t>
            </a:r>
          </a:p>
          <a:p>
            <a:endParaRPr lang="en-US" altLang="en-US" sz="1400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3371850" y="2800350"/>
            <a:ext cx="6675897" cy="12763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Introduce yourself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Get attention, build more rapport, introduce topic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Get audience response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Be informative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Be persuasiv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3390900" y="4210050"/>
            <a:ext cx="6675897" cy="1276350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Make </a:t>
            </a:r>
            <a:r>
              <a:rPr lang="en-US" altLang="en-US" sz="1400" dirty="0" smtClean="0">
                <a:solidFill>
                  <a:schemeClr val="bg2">
                    <a:lumMod val="75000"/>
                  </a:schemeClr>
                </a:solidFill>
              </a:rPr>
              <a:t>point-transition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 smtClean="0">
                <a:solidFill>
                  <a:schemeClr val="bg2">
                    <a:lumMod val="75000"/>
                  </a:schemeClr>
                </a:solidFill>
              </a:rPr>
              <a:t>Have supporting evidence ready</a:t>
            </a:r>
            <a:endParaRPr lang="en-US" altLang="en-US" sz="1400" dirty="0">
              <a:solidFill>
                <a:schemeClr val="bg2">
                  <a:lumMod val="75000"/>
                </a:schemeClr>
              </a:solidFill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 smtClean="0">
                <a:solidFill>
                  <a:schemeClr val="bg2">
                    <a:lumMod val="75000"/>
                  </a:schemeClr>
                </a:solidFill>
              </a:rPr>
              <a:t>Use examples</a:t>
            </a:r>
            <a:endParaRPr lang="en-US" altLang="en-US" sz="1400" dirty="0">
              <a:solidFill>
                <a:schemeClr val="bg2">
                  <a:lumMod val="75000"/>
                </a:schemeClr>
              </a:solidFill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 smtClean="0">
                <a:solidFill>
                  <a:schemeClr val="bg2">
                    <a:lumMod val="75000"/>
                  </a:schemeClr>
                </a:solidFill>
              </a:rPr>
              <a:t>Seek feedback </a:t>
            </a: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&amp; </a:t>
            </a:r>
            <a:r>
              <a:rPr lang="en-US" altLang="en-US" sz="1400" dirty="0" smtClean="0">
                <a:solidFill>
                  <a:schemeClr val="bg2">
                    <a:lumMod val="75000"/>
                  </a:schemeClr>
                </a:solidFill>
              </a:rPr>
              <a:t>ask questions </a:t>
            </a: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from </a:t>
            </a:r>
            <a:r>
              <a:rPr lang="en-US" altLang="en-US" sz="1400" dirty="0" smtClean="0">
                <a:solidFill>
                  <a:schemeClr val="bg2">
                    <a:lumMod val="75000"/>
                  </a:schemeClr>
                </a:solidFill>
              </a:rPr>
              <a:t>audience- engage audience</a:t>
            </a:r>
            <a:endParaRPr lang="en-US" altLang="en-US" sz="1400" dirty="0">
              <a:solidFill>
                <a:schemeClr val="bg2">
                  <a:lumMod val="75000"/>
                </a:schemeClr>
              </a:solidFill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Attention to, and focus </a:t>
            </a:r>
            <a:r>
              <a:rPr lang="en-US" altLang="en-US" sz="1400" dirty="0" smtClean="0">
                <a:solidFill>
                  <a:schemeClr val="bg2">
                    <a:lumMod val="75000"/>
                  </a:schemeClr>
                </a:solidFill>
              </a:rPr>
              <a:t>on audience- are </a:t>
            </a:r>
            <a:r>
              <a:rPr lang="en-US" altLang="en-US" sz="1400" dirty="0">
                <a:solidFill>
                  <a:schemeClr val="bg2">
                    <a:lumMod val="75000"/>
                  </a:schemeClr>
                </a:solidFill>
              </a:rPr>
              <a:t>they listening?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3409950" y="5619750"/>
            <a:ext cx="6675897" cy="12763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Summarize the </a:t>
            </a: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main points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“</a:t>
            </a: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Tell them </a:t>
            </a: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What You Told </a:t>
            </a: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them.</a:t>
            </a:r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Something to remember, or call-to-action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Take </a:t>
            </a: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questions</a:t>
            </a:r>
          </a:p>
          <a:p>
            <a:pPr algn="l"/>
            <a:endParaRPr lang="en-US" sz="1400" dirty="0" smtClean="0">
              <a:solidFill>
                <a:schemeClr val="bg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03633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tr-TR" altLang="en-US" dirty="0" smtClean="0"/>
              <a:t>What </a:t>
            </a:r>
            <a:r>
              <a:rPr lang="en-US" altLang="en-US" dirty="0" smtClean="0"/>
              <a:t>M</a:t>
            </a:r>
            <a:r>
              <a:rPr lang="tr-TR" altLang="en-US" dirty="0" smtClean="0"/>
              <a:t>akes an </a:t>
            </a:r>
            <a:r>
              <a:rPr lang="en-US" altLang="en-US" dirty="0" smtClean="0"/>
              <a:t>E</a:t>
            </a:r>
            <a:r>
              <a:rPr lang="tr-TR" altLang="en-US" dirty="0" smtClean="0"/>
              <a:t>ffective </a:t>
            </a:r>
            <a:r>
              <a:rPr lang="en-US" altLang="en-US" dirty="0" smtClean="0"/>
              <a:t>S</a:t>
            </a:r>
            <a:r>
              <a:rPr lang="tr-TR" altLang="en-US" dirty="0" smtClean="0"/>
              <a:t>peaker</a:t>
            </a:r>
            <a:r>
              <a:rPr lang="en-US" altLang="en-US" dirty="0" smtClean="0"/>
              <a:t>?</a:t>
            </a:r>
          </a:p>
        </p:txBody>
      </p:sp>
      <p:grpSp>
        <p:nvGrpSpPr>
          <p:cNvPr id="3" name="Group 3"/>
          <p:cNvGrpSpPr>
            <a:grpSpLocks noChangeAspect="1"/>
          </p:cNvGrpSpPr>
          <p:nvPr/>
        </p:nvGrpSpPr>
        <p:grpSpPr bwMode="auto">
          <a:xfrm>
            <a:off x="2285482" y="1600200"/>
            <a:ext cx="5906017" cy="4932457"/>
            <a:chOff x="371" y="946"/>
            <a:chExt cx="548" cy="731"/>
          </a:xfrm>
        </p:grpSpPr>
        <p:sp>
          <p:nvSpPr>
            <p:cNvPr id="5" name="Freeform 4"/>
            <p:cNvSpPr>
              <a:spLocks/>
            </p:cNvSpPr>
            <p:nvPr/>
          </p:nvSpPr>
          <p:spPr bwMode="auto">
            <a:xfrm>
              <a:off x="587" y="1001"/>
              <a:ext cx="332" cy="622"/>
            </a:xfrm>
            <a:custGeom>
              <a:avLst/>
              <a:gdLst>
                <a:gd name="T0" fmla="*/ 1040 w 1375"/>
                <a:gd name="T1" fmla="*/ 1315 h 2583"/>
                <a:gd name="T2" fmla="*/ 1195 w 1375"/>
                <a:gd name="T3" fmla="*/ 1315 h 2583"/>
                <a:gd name="T4" fmla="*/ 1173 w 1375"/>
                <a:gd name="T5" fmla="*/ 75 h 2583"/>
                <a:gd name="T6" fmla="*/ 1184 w 1375"/>
                <a:gd name="T7" fmla="*/ 75 h 2583"/>
                <a:gd name="T8" fmla="*/ 1184 w 1375"/>
                <a:gd name="T9" fmla="*/ 22 h 2583"/>
                <a:gd name="T10" fmla="*/ 973 w 1375"/>
                <a:gd name="T11" fmla="*/ 22 h 2583"/>
                <a:gd name="T12" fmla="*/ 973 w 1375"/>
                <a:gd name="T13" fmla="*/ 0 h 2583"/>
                <a:gd name="T14" fmla="*/ 921 w 1375"/>
                <a:gd name="T15" fmla="*/ 0 h 2583"/>
                <a:gd name="T16" fmla="*/ 921 w 1375"/>
                <a:gd name="T17" fmla="*/ 19 h 2583"/>
                <a:gd name="T18" fmla="*/ 387 w 1375"/>
                <a:gd name="T19" fmla="*/ 16 h 2583"/>
                <a:gd name="T20" fmla="*/ 387 w 1375"/>
                <a:gd name="T21" fmla="*/ 0 h 2583"/>
                <a:gd name="T22" fmla="*/ 337 w 1375"/>
                <a:gd name="T23" fmla="*/ 0 h 2583"/>
                <a:gd name="T24" fmla="*/ 337 w 1375"/>
                <a:gd name="T25" fmla="*/ 16 h 2583"/>
                <a:gd name="T26" fmla="*/ 119 w 1375"/>
                <a:gd name="T27" fmla="*/ 14 h 2583"/>
                <a:gd name="T28" fmla="*/ 119 w 1375"/>
                <a:gd name="T29" fmla="*/ 75 h 2583"/>
                <a:gd name="T30" fmla="*/ 135 w 1375"/>
                <a:gd name="T31" fmla="*/ 75 h 2583"/>
                <a:gd name="T32" fmla="*/ 157 w 1375"/>
                <a:gd name="T33" fmla="*/ 1315 h 2583"/>
                <a:gd name="T34" fmla="*/ 315 w 1375"/>
                <a:gd name="T35" fmla="*/ 1315 h 2583"/>
                <a:gd name="T36" fmla="*/ 8 w 1375"/>
                <a:gd name="T37" fmla="*/ 2580 h 2583"/>
                <a:gd name="T38" fmla="*/ 36 w 1375"/>
                <a:gd name="T39" fmla="*/ 2580 h 2583"/>
                <a:gd name="T40" fmla="*/ 354 w 1375"/>
                <a:gd name="T41" fmla="*/ 1315 h 2583"/>
                <a:gd name="T42" fmla="*/ 586 w 1375"/>
                <a:gd name="T43" fmla="*/ 1315 h 2583"/>
                <a:gd name="T44" fmla="*/ 558 w 1375"/>
                <a:gd name="T45" fmla="*/ 2193 h 2583"/>
                <a:gd name="T46" fmla="*/ 583 w 1375"/>
                <a:gd name="T47" fmla="*/ 2195 h 2583"/>
                <a:gd name="T48" fmla="*/ 619 w 1375"/>
                <a:gd name="T49" fmla="*/ 1315 h 2583"/>
                <a:gd name="T50" fmla="*/ 1004 w 1375"/>
                <a:gd name="T51" fmla="*/ 1315 h 2583"/>
                <a:gd name="T52" fmla="*/ 1350 w 1375"/>
                <a:gd name="T53" fmla="*/ 2536 h 2583"/>
                <a:gd name="T54" fmla="*/ 1375 w 1375"/>
                <a:gd name="T55" fmla="*/ 2539 h 2583"/>
                <a:gd name="T56" fmla="*/ 1040 w 1375"/>
                <a:gd name="T57" fmla="*/ 1315 h 2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5" h="2583">
                  <a:moveTo>
                    <a:pt x="1040" y="1315"/>
                  </a:moveTo>
                  <a:cubicBezTo>
                    <a:pt x="1195" y="1315"/>
                    <a:pt x="1195" y="1315"/>
                    <a:pt x="1195" y="1315"/>
                  </a:cubicBezTo>
                  <a:cubicBezTo>
                    <a:pt x="1173" y="75"/>
                    <a:pt x="1173" y="75"/>
                    <a:pt x="1173" y="75"/>
                  </a:cubicBezTo>
                  <a:cubicBezTo>
                    <a:pt x="1184" y="75"/>
                    <a:pt x="1184" y="75"/>
                    <a:pt x="1184" y="75"/>
                  </a:cubicBezTo>
                  <a:cubicBezTo>
                    <a:pt x="1184" y="22"/>
                    <a:pt x="1184" y="22"/>
                    <a:pt x="1184" y="22"/>
                  </a:cubicBezTo>
                  <a:cubicBezTo>
                    <a:pt x="973" y="22"/>
                    <a:pt x="973" y="22"/>
                    <a:pt x="973" y="22"/>
                  </a:cubicBezTo>
                  <a:cubicBezTo>
                    <a:pt x="973" y="0"/>
                    <a:pt x="973" y="0"/>
                    <a:pt x="973" y="0"/>
                  </a:cubicBezTo>
                  <a:cubicBezTo>
                    <a:pt x="921" y="0"/>
                    <a:pt x="921" y="0"/>
                    <a:pt x="921" y="0"/>
                  </a:cubicBezTo>
                  <a:cubicBezTo>
                    <a:pt x="921" y="19"/>
                    <a:pt x="921" y="19"/>
                    <a:pt x="921" y="19"/>
                  </a:cubicBezTo>
                  <a:cubicBezTo>
                    <a:pt x="387" y="16"/>
                    <a:pt x="387" y="16"/>
                    <a:pt x="387" y="16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337" y="0"/>
                    <a:pt x="337" y="0"/>
                    <a:pt x="337" y="0"/>
                  </a:cubicBezTo>
                  <a:cubicBezTo>
                    <a:pt x="337" y="16"/>
                    <a:pt x="337" y="16"/>
                    <a:pt x="337" y="16"/>
                  </a:cubicBezTo>
                  <a:cubicBezTo>
                    <a:pt x="119" y="14"/>
                    <a:pt x="119" y="14"/>
                    <a:pt x="119" y="14"/>
                  </a:cubicBezTo>
                  <a:cubicBezTo>
                    <a:pt x="119" y="75"/>
                    <a:pt x="119" y="75"/>
                    <a:pt x="119" y="75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57" y="1315"/>
                    <a:pt x="157" y="1315"/>
                    <a:pt x="157" y="1315"/>
                  </a:cubicBezTo>
                  <a:cubicBezTo>
                    <a:pt x="315" y="1315"/>
                    <a:pt x="315" y="1315"/>
                    <a:pt x="315" y="1315"/>
                  </a:cubicBezTo>
                  <a:cubicBezTo>
                    <a:pt x="274" y="1476"/>
                    <a:pt x="0" y="2575"/>
                    <a:pt x="8" y="2580"/>
                  </a:cubicBezTo>
                  <a:cubicBezTo>
                    <a:pt x="19" y="2583"/>
                    <a:pt x="27" y="2583"/>
                    <a:pt x="36" y="2580"/>
                  </a:cubicBezTo>
                  <a:cubicBezTo>
                    <a:pt x="354" y="1315"/>
                    <a:pt x="354" y="1315"/>
                    <a:pt x="354" y="1315"/>
                  </a:cubicBezTo>
                  <a:cubicBezTo>
                    <a:pt x="586" y="1315"/>
                    <a:pt x="586" y="1315"/>
                    <a:pt x="586" y="1315"/>
                  </a:cubicBezTo>
                  <a:cubicBezTo>
                    <a:pt x="558" y="2193"/>
                    <a:pt x="558" y="2193"/>
                    <a:pt x="558" y="2193"/>
                  </a:cubicBezTo>
                  <a:cubicBezTo>
                    <a:pt x="558" y="2193"/>
                    <a:pt x="575" y="2201"/>
                    <a:pt x="583" y="2195"/>
                  </a:cubicBezTo>
                  <a:cubicBezTo>
                    <a:pt x="619" y="1315"/>
                    <a:pt x="619" y="1315"/>
                    <a:pt x="619" y="1315"/>
                  </a:cubicBezTo>
                  <a:cubicBezTo>
                    <a:pt x="1004" y="1315"/>
                    <a:pt x="1004" y="1315"/>
                    <a:pt x="1004" y="1315"/>
                  </a:cubicBezTo>
                  <a:cubicBezTo>
                    <a:pt x="1350" y="2536"/>
                    <a:pt x="1350" y="2536"/>
                    <a:pt x="1350" y="2536"/>
                  </a:cubicBezTo>
                  <a:cubicBezTo>
                    <a:pt x="1350" y="2536"/>
                    <a:pt x="1364" y="2547"/>
                    <a:pt x="1375" y="2539"/>
                  </a:cubicBezTo>
                  <a:lnTo>
                    <a:pt x="1040" y="1315"/>
                  </a:lnTo>
                  <a:close/>
                </a:path>
              </a:pathLst>
            </a:custGeom>
            <a:solidFill>
              <a:srgbClr val="939598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371" y="946"/>
              <a:ext cx="196" cy="731"/>
            </a:xfrm>
            <a:custGeom>
              <a:avLst/>
              <a:gdLst>
                <a:gd name="T0" fmla="*/ 44 w 813"/>
                <a:gd name="T1" fmla="*/ 563 h 3034"/>
                <a:gd name="T2" fmla="*/ 235 w 813"/>
                <a:gd name="T3" fmla="*/ 441 h 3034"/>
                <a:gd name="T4" fmla="*/ 301 w 813"/>
                <a:gd name="T5" fmla="*/ 380 h 3034"/>
                <a:gd name="T6" fmla="*/ 279 w 813"/>
                <a:gd name="T7" fmla="*/ 280 h 3034"/>
                <a:gd name="T8" fmla="*/ 310 w 813"/>
                <a:gd name="T9" fmla="*/ 78 h 3034"/>
                <a:gd name="T10" fmla="*/ 503 w 813"/>
                <a:gd name="T11" fmla="*/ 20 h 3034"/>
                <a:gd name="T12" fmla="*/ 572 w 813"/>
                <a:gd name="T13" fmla="*/ 161 h 3034"/>
                <a:gd name="T14" fmla="*/ 561 w 813"/>
                <a:gd name="T15" fmla="*/ 277 h 3034"/>
                <a:gd name="T16" fmla="*/ 531 w 813"/>
                <a:gd name="T17" fmla="*/ 352 h 3034"/>
                <a:gd name="T18" fmla="*/ 484 w 813"/>
                <a:gd name="T19" fmla="*/ 413 h 3034"/>
                <a:gd name="T20" fmla="*/ 514 w 813"/>
                <a:gd name="T21" fmla="*/ 488 h 3034"/>
                <a:gd name="T22" fmla="*/ 597 w 813"/>
                <a:gd name="T23" fmla="*/ 629 h 3034"/>
                <a:gd name="T24" fmla="*/ 616 w 813"/>
                <a:gd name="T25" fmla="*/ 903 h 3034"/>
                <a:gd name="T26" fmla="*/ 752 w 813"/>
                <a:gd name="T27" fmla="*/ 812 h 3034"/>
                <a:gd name="T28" fmla="*/ 788 w 813"/>
                <a:gd name="T29" fmla="*/ 673 h 3034"/>
                <a:gd name="T30" fmla="*/ 810 w 813"/>
                <a:gd name="T31" fmla="*/ 701 h 3034"/>
                <a:gd name="T32" fmla="*/ 807 w 813"/>
                <a:gd name="T33" fmla="*/ 734 h 3034"/>
                <a:gd name="T34" fmla="*/ 732 w 813"/>
                <a:gd name="T35" fmla="*/ 1031 h 3034"/>
                <a:gd name="T36" fmla="*/ 603 w 813"/>
                <a:gd name="T37" fmla="*/ 1372 h 3034"/>
                <a:gd name="T38" fmla="*/ 616 w 813"/>
                <a:gd name="T39" fmla="*/ 1654 h 3034"/>
                <a:gd name="T40" fmla="*/ 592 w 813"/>
                <a:gd name="T41" fmla="*/ 1865 h 3034"/>
                <a:gd name="T42" fmla="*/ 500 w 813"/>
                <a:gd name="T43" fmla="*/ 2394 h 3034"/>
                <a:gd name="T44" fmla="*/ 409 w 813"/>
                <a:gd name="T45" fmla="*/ 2582 h 3034"/>
                <a:gd name="T46" fmla="*/ 437 w 813"/>
                <a:gd name="T47" fmla="*/ 2662 h 3034"/>
                <a:gd name="T48" fmla="*/ 594 w 813"/>
                <a:gd name="T49" fmla="*/ 2701 h 3034"/>
                <a:gd name="T50" fmla="*/ 592 w 813"/>
                <a:gd name="T51" fmla="*/ 2776 h 3034"/>
                <a:gd name="T52" fmla="*/ 426 w 813"/>
                <a:gd name="T53" fmla="*/ 2793 h 3034"/>
                <a:gd name="T54" fmla="*/ 442 w 813"/>
                <a:gd name="T55" fmla="*/ 2834 h 3034"/>
                <a:gd name="T56" fmla="*/ 575 w 813"/>
                <a:gd name="T57" fmla="*/ 2942 h 3034"/>
                <a:gd name="T58" fmla="*/ 605 w 813"/>
                <a:gd name="T59" fmla="*/ 2987 h 3034"/>
                <a:gd name="T60" fmla="*/ 401 w 813"/>
                <a:gd name="T61" fmla="*/ 3031 h 3034"/>
                <a:gd name="T62" fmla="*/ 290 w 813"/>
                <a:gd name="T63" fmla="*/ 2970 h 3034"/>
                <a:gd name="T64" fmla="*/ 202 w 813"/>
                <a:gd name="T65" fmla="*/ 2926 h 3034"/>
                <a:gd name="T66" fmla="*/ 194 w 813"/>
                <a:gd name="T67" fmla="*/ 2790 h 3034"/>
                <a:gd name="T68" fmla="*/ 160 w 813"/>
                <a:gd name="T69" fmla="*/ 2668 h 3034"/>
                <a:gd name="T70" fmla="*/ 188 w 813"/>
                <a:gd name="T71" fmla="*/ 2518 h 3034"/>
                <a:gd name="T72" fmla="*/ 183 w 813"/>
                <a:gd name="T73" fmla="*/ 2009 h 3034"/>
                <a:gd name="T74" fmla="*/ 127 w 813"/>
                <a:gd name="T75" fmla="*/ 1649 h 3034"/>
                <a:gd name="T76" fmla="*/ 97 w 813"/>
                <a:gd name="T77" fmla="*/ 1291 h 3034"/>
                <a:gd name="T78" fmla="*/ 8 w 813"/>
                <a:gd name="T79" fmla="*/ 1053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13" h="3034">
                  <a:moveTo>
                    <a:pt x="11" y="781"/>
                  </a:moveTo>
                  <a:cubicBezTo>
                    <a:pt x="17" y="715"/>
                    <a:pt x="36" y="588"/>
                    <a:pt x="44" y="563"/>
                  </a:cubicBezTo>
                  <a:cubicBezTo>
                    <a:pt x="53" y="538"/>
                    <a:pt x="80" y="496"/>
                    <a:pt x="113" y="480"/>
                  </a:cubicBezTo>
                  <a:cubicBezTo>
                    <a:pt x="149" y="466"/>
                    <a:pt x="221" y="446"/>
                    <a:pt x="235" y="441"/>
                  </a:cubicBezTo>
                  <a:cubicBezTo>
                    <a:pt x="249" y="432"/>
                    <a:pt x="285" y="374"/>
                    <a:pt x="290" y="377"/>
                  </a:cubicBezTo>
                  <a:cubicBezTo>
                    <a:pt x="299" y="377"/>
                    <a:pt x="301" y="380"/>
                    <a:pt x="301" y="380"/>
                  </a:cubicBezTo>
                  <a:cubicBezTo>
                    <a:pt x="307" y="352"/>
                    <a:pt x="307" y="352"/>
                    <a:pt x="307" y="352"/>
                  </a:cubicBezTo>
                  <a:cubicBezTo>
                    <a:pt x="307" y="352"/>
                    <a:pt x="279" y="294"/>
                    <a:pt x="279" y="280"/>
                  </a:cubicBezTo>
                  <a:cubicBezTo>
                    <a:pt x="279" y="269"/>
                    <a:pt x="268" y="216"/>
                    <a:pt x="271" y="197"/>
                  </a:cubicBezTo>
                  <a:cubicBezTo>
                    <a:pt x="274" y="178"/>
                    <a:pt x="288" y="111"/>
                    <a:pt x="310" y="78"/>
                  </a:cubicBezTo>
                  <a:cubicBezTo>
                    <a:pt x="332" y="47"/>
                    <a:pt x="362" y="0"/>
                    <a:pt x="401" y="6"/>
                  </a:cubicBezTo>
                  <a:cubicBezTo>
                    <a:pt x="442" y="11"/>
                    <a:pt x="484" y="11"/>
                    <a:pt x="503" y="20"/>
                  </a:cubicBezTo>
                  <a:cubicBezTo>
                    <a:pt x="525" y="31"/>
                    <a:pt x="553" y="70"/>
                    <a:pt x="556" y="86"/>
                  </a:cubicBezTo>
                  <a:cubicBezTo>
                    <a:pt x="558" y="106"/>
                    <a:pt x="572" y="147"/>
                    <a:pt x="572" y="161"/>
                  </a:cubicBezTo>
                  <a:cubicBezTo>
                    <a:pt x="572" y="175"/>
                    <a:pt x="580" y="214"/>
                    <a:pt x="561" y="222"/>
                  </a:cubicBezTo>
                  <a:cubicBezTo>
                    <a:pt x="561" y="222"/>
                    <a:pt x="561" y="275"/>
                    <a:pt x="561" y="277"/>
                  </a:cubicBezTo>
                  <a:cubicBezTo>
                    <a:pt x="561" y="283"/>
                    <a:pt x="553" y="280"/>
                    <a:pt x="553" y="288"/>
                  </a:cubicBezTo>
                  <a:cubicBezTo>
                    <a:pt x="553" y="299"/>
                    <a:pt x="539" y="344"/>
                    <a:pt x="531" y="352"/>
                  </a:cubicBezTo>
                  <a:cubicBezTo>
                    <a:pt x="525" y="363"/>
                    <a:pt x="509" y="396"/>
                    <a:pt x="503" y="402"/>
                  </a:cubicBezTo>
                  <a:cubicBezTo>
                    <a:pt x="495" y="405"/>
                    <a:pt x="484" y="413"/>
                    <a:pt x="484" y="413"/>
                  </a:cubicBezTo>
                  <a:cubicBezTo>
                    <a:pt x="487" y="460"/>
                    <a:pt x="487" y="460"/>
                    <a:pt x="487" y="460"/>
                  </a:cubicBezTo>
                  <a:cubicBezTo>
                    <a:pt x="514" y="488"/>
                    <a:pt x="514" y="488"/>
                    <a:pt x="514" y="488"/>
                  </a:cubicBezTo>
                  <a:cubicBezTo>
                    <a:pt x="514" y="488"/>
                    <a:pt x="522" y="521"/>
                    <a:pt x="534" y="532"/>
                  </a:cubicBezTo>
                  <a:cubicBezTo>
                    <a:pt x="545" y="543"/>
                    <a:pt x="597" y="599"/>
                    <a:pt x="597" y="629"/>
                  </a:cubicBezTo>
                  <a:cubicBezTo>
                    <a:pt x="597" y="662"/>
                    <a:pt x="614" y="779"/>
                    <a:pt x="614" y="809"/>
                  </a:cubicBezTo>
                  <a:cubicBezTo>
                    <a:pt x="614" y="837"/>
                    <a:pt x="616" y="903"/>
                    <a:pt x="616" y="903"/>
                  </a:cubicBezTo>
                  <a:cubicBezTo>
                    <a:pt x="616" y="903"/>
                    <a:pt x="686" y="867"/>
                    <a:pt x="694" y="854"/>
                  </a:cubicBezTo>
                  <a:cubicBezTo>
                    <a:pt x="702" y="840"/>
                    <a:pt x="752" y="818"/>
                    <a:pt x="752" y="812"/>
                  </a:cubicBezTo>
                  <a:cubicBezTo>
                    <a:pt x="752" y="809"/>
                    <a:pt x="749" y="745"/>
                    <a:pt x="755" y="737"/>
                  </a:cubicBezTo>
                  <a:cubicBezTo>
                    <a:pt x="757" y="732"/>
                    <a:pt x="785" y="679"/>
                    <a:pt x="788" y="673"/>
                  </a:cubicBezTo>
                  <a:cubicBezTo>
                    <a:pt x="791" y="668"/>
                    <a:pt x="802" y="662"/>
                    <a:pt x="804" y="671"/>
                  </a:cubicBezTo>
                  <a:cubicBezTo>
                    <a:pt x="807" y="676"/>
                    <a:pt x="813" y="690"/>
                    <a:pt x="810" y="701"/>
                  </a:cubicBezTo>
                  <a:cubicBezTo>
                    <a:pt x="804" y="712"/>
                    <a:pt x="802" y="732"/>
                    <a:pt x="802" y="732"/>
                  </a:cubicBezTo>
                  <a:cubicBezTo>
                    <a:pt x="807" y="734"/>
                    <a:pt x="807" y="734"/>
                    <a:pt x="807" y="734"/>
                  </a:cubicBezTo>
                  <a:cubicBezTo>
                    <a:pt x="807" y="998"/>
                    <a:pt x="807" y="998"/>
                    <a:pt x="807" y="998"/>
                  </a:cubicBezTo>
                  <a:cubicBezTo>
                    <a:pt x="807" y="998"/>
                    <a:pt x="757" y="1020"/>
                    <a:pt x="732" y="1031"/>
                  </a:cubicBezTo>
                  <a:cubicBezTo>
                    <a:pt x="708" y="1042"/>
                    <a:pt x="616" y="1086"/>
                    <a:pt x="597" y="1089"/>
                  </a:cubicBezTo>
                  <a:cubicBezTo>
                    <a:pt x="597" y="1089"/>
                    <a:pt x="597" y="1358"/>
                    <a:pt x="603" y="1372"/>
                  </a:cubicBezTo>
                  <a:cubicBezTo>
                    <a:pt x="611" y="1385"/>
                    <a:pt x="608" y="1457"/>
                    <a:pt x="608" y="1499"/>
                  </a:cubicBezTo>
                  <a:cubicBezTo>
                    <a:pt x="608" y="1538"/>
                    <a:pt x="616" y="1646"/>
                    <a:pt x="616" y="1654"/>
                  </a:cubicBezTo>
                  <a:cubicBezTo>
                    <a:pt x="616" y="1660"/>
                    <a:pt x="600" y="1671"/>
                    <a:pt x="600" y="1671"/>
                  </a:cubicBezTo>
                  <a:cubicBezTo>
                    <a:pt x="600" y="1671"/>
                    <a:pt x="594" y="1848"/>
                    <a:pt x="592" y="1865"/>
                  </a:cubicBezTo>
                  <a:cubicBezTo>
                    <a:pt x="586" y="1884"/>
                    <a:pt x="561" y="2092"/>
                    <a:pt x="553" y="2144"/>
                  </a:cubicBezTo>
                  <a:cubicBezTo>
                    <a:pt x="545" y="2200"/>
                    <a:pt x="506" y="2369"/>
                    <a:pt x="500" y="2394"/>
                  </a:cubicBezTo>
                  <a:cubicBezTo>
                    <a:pt x="495" y="2419"/>
                    <a:pt x="470" y="2499"/>
                    <a:pt x="456" y="2516"/>
                  </a:cubicBezTo>
                  <a:cubicBezTo>
                    <a:pt x="442" y="2532"/>
                    <a:pt x="409" y="2582"/>
                    <a:pt x="409" y="2582"/>
                  </a:cubicBezTo>
                  <a:cubicBezTo>
                    <a:pt x="423" y="2638"/>
                    <a:pt x="423" y="2638"/>
                    <a:pt x="423" y="2638"/>
                  </a:cubicBezTo>
                  <a:cubicBezTo>
                    <a:pt x="423" y="2638"/>
                    <a:pt x="431" y="2657"/>
                    <a:pt x="437" y="2662"/>
                  </a:cubicBezTo>
                  <a:cubicBezTo>
                    <a:pt x="445" y="2665"/>
                    <a:pt x="489" y="2690"/>
                    <a:pt x="503" y="2690"/>
                  </a:cubicBezTo>
                  <a:cubicBezTo>
                    <a:pt x="520" y="2690"/>
                    <a:pt x="583" y="2701"/>
                    <a:pt x="594" y="2701"/>
                  </a:cubicBezTo>
                  <a:cubicBezTo>
                    <a:pt x="605" y="2701"/>
                    <a:pt x="625" y="2726"/>
                    <a:pt x="625" y="2732"/>
                  </a:cubicBezTo>
                  <a:cubicBezTo>
                    <a:pt x="625" y="2737"/>
                    <a:pt x="619" y="2762"/>
                    <a:pt x="592" y="2776"/>
                  </a:cubicBezTo>
                  <a:cubicBezTo>
                    <a:pt x="567" y="2787"/>
                    <a:pt x="542" y="2793"/>
                    <a:pt x="522" y="2793"/>
                  </a:cubicBezTo>
                  <a:cubicBezTo>
                    <a:pt x="503" y="2793"/>
                    <a:pt x="426" y="2793"/>
                    <a:pt x="426" y="2793"/>
                  </a:cubicBezTo>
                  <a:cubicBezTo>
                    <a:pt x="445" y="2829"/>
                    <a:pt x="445" y="2829"/>
                    <a:pt x="445" y="2829"/>
                  </a:cubicBezTo>
                  <a:cubicBezTo>
                    <a:pt x="442" y="2834"/>
                    <a:pt x="442" y="2834"/>
                    <a:pt x="442" y="2834"/>
                  </a:cubicBezTo>
                  <a:cubicBezTo>
                    <a:pt x="442" y="2834"/>
                    <a:pt x="459" y="2867"/>
                    <a:pt x="489" y="2890"/>
                  </a:cubicBezTo>
                  <a:cubicBezTo>
                    <a:pt x="517" y="2912"/>
                    <a:pt x="575" y="2942"/>
                    <a:pt x="575" y="2942"/>
                  </a:cubicBezTo>
                  <a:cubicBezTo>
                    <a:pt x="575" y="2942"/>
                    <a:pt x="594" y="2962"/>
                    <a:pt x="594" y="2964"/>
                  </a:cubicBezTo>
                  <a:cubicBezTo>
                    <a:pt x="594" y="2967"/>
                    <a:pt x="605" y="2984"/>
                    <a:pt x="605" y="2987"/>
                  </a:cubicBezTo>
                  <a:cubicBezTo>
                    <a:pt x="605" y="2989"/>
                    <a:pt x="589" y="3020"/>
                    <a:pt x="534" y="3028"/>
                  </a:cubicBezTo>
                  <a:cubicBezTo>
                    <a:pt x="475" y="3034"/>
                    <a:pt x="448" y="3031"/>
                    <a:pt x="401" y="3031"/>
                  </a:cubicBezTo>
                  <a:cubicBezTo>
                    <a:pt x="354" y="3031"/>
                    <a:pt x="310" y="2992"/>
                    <a:pt x="301" y="2984"/>
                  </a:cubicBezTo>
                  <a:cubicBezTo>
                    <a:pt x="293" y="2975"/>
                    <a:pt x="290" y="2970"/>
                    <a:pt x="290" y="2970"/>
                  </a:cubicBezTo>
                  <a:cubicBezTo>
                    <a:pt x="263" y="2967"/>
                    <a:pt x="263" y="2967"/>
                    <a:pt x="263" y="2967"/>
                  </a:cubicBezTo>
                  <a:cubicBezTo>
                    <a:pt x="202" y="2926"/>
                    <a:pt x="202" y="2926"/>
                    <a:pt x="202" y="2926"/>
                  </a:cubicBezTo>
                  <a:cubicBezTo>
                    <a:pt x="202" y="2840"/>
                    <a:pt x="202" y="2840"/>
                    <a:pt x="202" y="2840"/>
                  </a:cubicBezTo>
                  <a:cubicBezTo>
                    <a:pt x="194" y="2790"/>
                    <a:pt x="194" y="2790"/>
                    <a:pt x="194" y="2790"/>
                  </a:cubicBezTo>
                  <a:cubicBezTo>
                    <a:pt x="160" y="2779"/>
                    <a:pt x="160" y="2779"/>
                    <a:pt x="160" y="2779"/>
                  </a:cubicBezTo>
                  <a:cubicBezTo>
                    <a:pt x="160" y="2668"/>
                    <a:pt x="160" y="2668"/>
                    <a:pt x="160" y="2668"/>
                  </a:cubicBezTo>
                  <a:cubicBezTo>
                    <a:pt x="160" y="2668"/>
                    <a:pt x="160" y="2613"/>
                    <a:pt x="163" y="2599"/>
                  </a:cubicBezTo>
                  <a:cubicBezTo>
                    <a:pt x="169" y="2588"/>
                    <a:pt x="188" y="2521"/>
                    <a:pt x="188" y="2518"/>
                  </a:cubicBezTo>
                  <a:cubicBezTo>
                    <a:pt x="188" y="2516"/>
                    <a:pt x="194" y="2244"/>
                    <a:pt x="194" y="2233"/>
                  </a:cubicBezTo>
                  <a:cubicBezTo>
                    <a:pt x="194" y="2222"/>
                    <a:pt x="177" y="2039"/>
                    <a:pt x="183" y="2009"/>
                  </a:cubicBezTo>
                  <a:cubicBezTo>
                    <a:pt x="188" y="1978"/>
                    <a:pt x="163" y="1892"/>
                    <a:pt x="155" y="1854"/>
                  </a:cubicBezTo>
                  <a:cubicBezTo>
                    <a:pt x="144" y="1812"/>
                    <a:pt x="127" y="1682"/>
                    <a:pt x="127" y="1649"/>
                  </a:cubicBezTo>
                  <a:cubicBezTo>
                    <a:pt x="127" y="1649"/>
                    <a:pt x="105" y="1610"/>
                    <a:pt x="105" y="1588"/>
                  </a:cubicBezTo>
                  <a:cubicBezTo>
                    <a:pt x="105" y="1563"/>
                    <a:pt x="97" y="1291"/>
                    <a:pt x="97" y="1291"/>
                  </a:cubicBezTo>
                  <a:cubicBezTo>
                    <a:pt x="97" y="1291"/>
                    <a:pt x="94" y="1264"/>
                    <a:pt x="89" y="1252"/>
                  </a:cubicBezTo>
                  <a:cubicBezTo>
                    <a:pt x="80" y="1241"/>
                    <a:pt x="14" y="1153"/>
                    <a:pt x="8" y="1053"/>
                  </a:cubicBezTo>
                  <a:cubicBezTo>
                    <a:pt x="0" y="956"/>
                    <a:pt x="6" y="823"/>
                    <a:pt x="11" y="781"/>
                  </a:cubicBezTo>
                </a:path>
              </a:pathLst>
            </a:custGeom>
            <a:solidFill>
              <a:srgbClr val="939598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480" y="1026"/>
              <a:ext cx="55" cy="110"/>
            </a:xfrm>
            <a:custGeom>
              <a:avLst/>
              <a:gdLst>
                <a:gd name="T0" fmla="*/ 6 w 225"/>
                <a:gd name="T1" fmla="*/ 0 h 459"/>
                <a:gd name="T2" fmla="*/ 148 w 225"/>
                <a:gd name="T3" fmla="*/ 106 h 459"/>
                <a:gd name="T4" fmla="*/ 159 w 225"/>
                <a:gd name="T5" fmla="*/ 125 h 459"/>
                <a:gd name="T6" fmla="*/ 187 w 225"/>
                <a:gd name="T7" fmla="*/ 125 h 459"/>
                <a:gd name="T8" fmla="*/ 200 w 225"/>
                <a:gd name="T9" fmla="*/ 139 h 459"/>
                <a:gd name="T10" fmla="*/ 225 w 225"/>
                <a:gd name="T11" fmla="*/ 187 h 459"/>
                <a:gd name="T12" fmla="*/ 195 w 225"/>
                <a:gd name="T13" fmla="*/ 181 h 459"/>
                <a:gd name="T14" fmla="*/ 220 w 225"/>
                <a:gd name="T15" fmla="*/ 459 h 459"/>
                <a:gd name="T16" fmla="*/ 137 w 225"/>
                <a:gd name="T17" fmla="*/ 242 h 459"/>
                <a:gd name="T18" fmla="*/ 117 w 225"/>
                <a:gd name="T19" fmla="*/ 187 h 459"/>
                <a:gd name="T20" fmla="*/ 100 w 225"/>
                <a:gd name="T21" fmla="*/ 200 h 459"/>
                <a:gd name="T22" fmla="*/ 0 w 225"/>
                <a:gd name="T23" fmla="*/ 37 h 459"/>
                <a:gd name="T24" fmla="*/ 6 w 225"/>
                <a:gd name="T25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459">
                  <a:moveTo>
                    <a:pt x="6" y="0"/>
                  </a:moveTo>
                  <a:cubicBezTo>
                    <a:pt x="6" y="0"/>
                    <a:pt x="137" y="92"/>
                    <a:pt x="148" y="106"/>
                  </a:cubicBezTo>
                  <a:cubicBezTo>
                    <a:pt x="162" y="117"/>
                    <a:pt x="159" y="125"/>
                    <a:pt x="159" y="125"/>
                  </a:cubicBezTo>
                  <a:cubicBezTo>
                    <a:pt x="187" y="125"/>
                    <a:pt x="187" y="125"/>
                    <a:pt x="187" y="125"/>
                  </a:cubicBezTo>
                  <a:cubicBezTo>
                    <a:pt x="200" y="139"/>
                    <a:pt x="200" y="139"/>
                    <a:pt x="200" y="139"/>
                  </a:cubicBezTo>
                  <a:cubicBezTo>
                    <a:pt x="225" y="187"/>
                    <a:pt x="225" y="187"/>
                    <a:pt x="225" y="187"/>
                  </a:cubicBezTo>
                  <a:cubicBezTo>
                    <a:pt x="195" y="181"/>
                    <a:pt x="195" y="181"/>
                    <a:pt x="195" y="181"/>
                  </a:cubicBezTo>
                  <a:cubicBezTo>
                    <a:pt x="220" y="459"/>
                    <a:pt x="220" y="459"/>
                    <a:pt x="220" y="459"/>
                  </a:cubicBezTo>
                  <a:cubicBezTo>
                    <a:pt x="220" y="459"/>
                    <a:pt x="145" y="259"/>
                    <a:pt x="137" y="242"/>
                  </a:cubicBezTo>
                  <a:cubicBezTo>
                    <a:pt x="128" y="223"/>
                    <a:pt x="117" y="187"/>
                    <a:pt x="117" y="187"/>
                  </a:cubicBezTo>
                  <a:cubicBezTo>
                    <a:pt x="100" y="200"/>
                    <a:pt x="100" y="200"/>
                    <a:pt x="100" y="200"/>
                  </a:cubicBezTo>
                  <a:cubicBezTo>
                    <a:pt x="100" y="200"/>
                    <a:pt x="39" y="73"/>
                    <a:pt x="0" y="37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478" y="1028"/>
              <a:ext cx="30" cy="112"/>
            </a:xfrm>
            <a:custGeom>
              <a:avLst/>
              <a:gdLst>
                <a:gd name="T0" fmla="*/ 24 w 125"/>
                <a:gd name="T1" fmla="*/ 0 h 467"/>
                <a:gd name="T2" fmla="*/ 68 w 125"/>
                <a:gd name="T3" fmla="*/ 36 h 467"/>
                <a:gd name="T4" fmla="*/ 60 w 125"/>
                <a:gd name="T5" fmla="*/ 72 h 467"/>
                <a:gd name="T6" fmla="*/ 90 w 125"/>
                <a:gd name="T7" fmla="*/ 136 h 467"/>
                <a:gd name="T8" fmla="*/ 120 w 125"/>
                <a:gd name="T9" fmla="*/ 276 h 467"/>
                <a:gd name="T10" fmla="*/ 125 w 125"/>
                <a:gd name="T11" fmla="*/ 442 h 467"/>
                <a:gd name="T12" fmla="*/ 98 w 125"/>
                <a:gd name="T13" fmla="*/ 428 h 467"/>
                <a:gd name="T14" fmla="*/ 68 w 125"/>
                <a:gd name="T15" fmla="*/ 257 h 467"/>
                <a:gd name="T16" fmla="*/ 35 w 125"/>
                <a:gd name="T17" fmla="*/ 78 h 467"/>
                <a:gd name="T18" fmla="*/ 0 w 125"/>
                <a:gd name="T19" fmla="*/ 33 h 467"/>
                <a:gd name="T20" fmla="*/ 24 w 125"/>
                <a:gd name="T21" fmla="*/ 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467">
                  <a:moveTo>
                    <a:pt x="24" y="0"/>
                  </a:moveTo>
                  <a:cubicBezTo>
                    <a:pt x="33" y="0"/>
                    <a:pt x="57" y="3"/>
                    <a:pt x="68" y="36"/>
                  </a:cubicBezTo>
                  <a:cubicBezTo>
                    <a:pt x="79" y="69"/>
                    <a:pt x="68" y="67"/>
                    <a:pt x="60" y="72"/>
                  </a:cubicBezTo>
                  <a:cubicBezTo>
                    <a:pt x="54" y="78"/>
                    <a:pt x="81" y="114"/>
                    <a:pt x="90" y="136"/>
                  </a:cubicBezTo>
                  <a:cubicBezTo>
                    <a:pt x="98" y="158"/>
                    <a:pt x="120" y="254"/>
                    <a:pt x="120" y="276"/>
                  </a:cubicBezTo>
                  <a:cubicBezTo>
                    <a:pt x="120" y="299"/>
                    <a:pt x="125" y="417"/>
                    <a:pt x="125" y="442"/>
                  </a:cubicBezTo>
                  <a:cubicBezTo>
                    <a:pt x="122" y="467"/>
                    <a:pt x="109" y="461"/>
                    <a:pt x="98" y="428"/>
                  </a:cubicBezTo>
                  <a:cubicBezTo>
                    <a:pt x="90" y="395"/>
                    <a:pt x="76" y="337"/>
                    <a:pt x="68" y="257"/>
                  </a:cubicBezTo>
                  <a:cubicBezTo>
                    <a:pt x="60" y="174"/>
                    <a:pt x="41" y="83"/>
                    <a:pt x="35" y="78"/>
                  </a:cubicBezTo>
                  <a:cubicBezTo>
                    <a:pt x="27" y="72"/>
                    <a:pt x="0" y="47"/>
                    <a:pt x="0" y="33"/>
                  </a:cubicBezTo>
                  <a:cubicBezTo>
                    <a:pt x="3" y="17"/>
                    <a:pt x="5" y="3"/>
                    <a:pt x="24" y="0"/>
                  </a:cubicBezTo>
                </a:path>
              </a:pathLst>
            </a:custGeom>
            <a:solidFill>
              <a:srgbClr val="595959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00" y="1019"/>
              <a:ext cx="319" cy="282"/>
            </a:xfrm>
            <a:custGeom>
              <a:avLst/>
              <a:gdLst>
                <a:gd name="T0" fmla="*/ 252 w 252"/>
                <a:gd name="T1" fmla="*/ 292 h 292"/>
                <a:gd name="T2" fmla="*/ 6 w 252"/>
                <a:gd name="T3" fmla="*/ 292 h 292"/>
                <a:gd name="T4" fmla="*/ 0 w 252"/>
                <a:gd name="T5" fmla="*/ 0 h 292"/>
                <a:gd name="T6" fmla="*/ 247 w 252"/>
                <a:gd name="T7" fmla="*/ 0 h 292"/>
                <a:gd name="T8" fmla="*/ 252 w 252"/>
                <a:gd name="T9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2" h="292">
                  <a:moveTo>
                    <a:pt x="252" y="292"/>
                  </a:moveTo>
                  <a:lnTo>
                    <a:pt x="6" y="292"/>
                  </a:lnTo>
                  <a:lnTo>
                    <a:pt x="0" y="0"/>
                  </a:lnTo>
                  <a:lnTo>
                    <a:pt x="247" y="0"/>
                  </a:lnTo>
                  <a:lnTo>
                    <a:pt x="252" y="2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sz="1600" dirty="0" smtClean="0">
                  <a:solidFill>
                    <a:schemeClr val="tx2"/>
                  </a:solidFill>
                </a:rPr>
                <a:t>Control </a:t>
              </a:r>
              <a:r>
                <a:rPr lang="en-US" altLang="en-US" sz="1600" dirty="0">
                  <a:solidFill>
                    <a:schemeClr val="tx2"/>
                  </a:solidFill>
                </a:rPr>
                <a:t>of information</a:t>
              </a:r>
            </a:p>
            <a:p>
              <a:pPr marL="285750" indent="-285750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altLang="en-US" sz="1600" dirty="0">
                  <a:solidFill>
                    <a:schemeClr val="tx2"/>
                  </a:solidFill>
                </a:rPr>
                <a:t>The voice used</a:t>
              </a:r>
              <a:endParaRPr lang="tr-TR" altLang="en-US" sz="1600" dirty="0">
                <a:solidFill>
                  <a:schemeClr val="tx2"/>
                </a:solidFill>
              </a:endParaRPr>
            </a:p>
            <a:p>
              <a:pPr marL="285750" indent="-285750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tr-TR" altLang="en-US" sz="1600" dirty="0">
                  <a:solidFill>
                    <a:schemeClr val="tx2"/>
                  </a:solidFill>
                </a:rPr>
                <a:t>The right </a:t>
              </a:r>
              <a:r>
                <a:rPr lang="tr-TR" altLang="en-US" sz="1600" dirty="0" smtClean="0">
                  <a:solidFill>
                    <a:schemeClr val="tx2"/>
                  </a:solidFill>
                </a:rPr>
                <a:t>words</a:t>
              </a:r>
              <a:endParaRPr lang="en-US" altLang="en-US" sz="1600" dirty="0" smtClean="0">
                <a:solidFill>
                  <a:schemeClr val="tx2"/>
                </a:solidFill>
              </a:endParaRPr>
            </a:p>
            <a:p>
              <a:pPr marL="285750" indent="-285750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altLang="en-US" sz="1600" dirty="0">
                  <a:solidFill>
                    <a:schemeClr val="tx2"/>
                  </a:solidFill>
                </a:rPr>
                <a:t>Use of body language</a:t>
              </a:r>
            </a:p>
            <a:p>
              <a:pPr marL="285750" indent="-285750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altLang="en-US" sz="1600" dirty="0">
                  <a:solidFill>
                    <a:schemeClr val="tx2"/>
                  </a:solidFill>
                </a:rPr>
                <a:t>Prompts, scripts and notes</a:t>
              </a:r>
              <a:endParaRPr lang="tr-TR" altLang="en-US" sz="1600" dirty="0">
                <a:solidFill>
                  <a:schemeClr val="tx2"/>
                </a:solidFill>
              </a:endParaRPr>
            </a:p>
            <a:p>
              <a:pPr marL="285750" indent="-285750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tr-TR" altLang="en-US" sz="1600" dirty="0">
                  <a:solidFill>
                    <a:schemeClr val="tx2"/>
                  </a:solidFill>
                </a:rPr>
                <a:t>Useful </a:t>
              </a:r>
              <a:r>
                <a:rPr lang="en-US" altLang="en-US" sz="1600" dirty="0">
                  <a:solidFill>
                    <a:schemeClr val="tx2"/>
                  </a:solidFill>
                </a:rPr>
                <a:t>and meaningful visual </a:t>
              </a:r>
              <a:r>
                <a:rPr lang="en-US" altLang="en-US" sz="1600" dirty="0" smtClean="0">
                  <a:solidFill>
                    <a:schemeClr val="tx2"/>
                  </a:solidFill>
                </a:rPr>
                <a:t>aids</a:t>
              </a:r>
              <a:endParaRPr lang="en-US" sz="2400" dirty="0">
                <a:solidFill>
                  <a:schemeClr val="tx2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475" y="1048"/>
              <a:ext cx="153" cy="120"/>
            </a:xfrm>
            <a:custGeom>
              <a:avLst/>
              <a:gdLst>
                <a:gd name="T0" fmla="*/ 0 w 153"/>
                <a:gd name="T1" fmla="*/ 117 h 120"/>
                <a:gd name="T2" fmla="*/ 153 w 153"/>
                <a:gd name="T3" fmla="*/ 0 h 120"/>
                <a:gd name="T4" fmla="*/ 0 w 153"/>
                <a:gd name="T5" fmla="*/ 120 h 120"/>
                <a:gd name="T6" fmla="*/ 0 w 153"/>
                <a:gd name="T7" fmla="*/ 11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120">
                  <a:moveTo>
                    <a:pt x="0" y="117"/>
                  </a:moveTo>
                  <a:lnTo>
                    <a:pt x="153" y="0"/>
                  </a:lnTo>
                  <a:lnTo>
                    <a:pt x="0" y="120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741" y="6935289"/>
            <a:ext cx="9382557" cy="27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843290"/>
      </p:ext>
    </p:extLst>
  </p:cSld>
  <p:clrMapOvr>
    <a:masterClrMapping/>
  </p:clrMapOvr>
  <p:transition>
    <p:cover dir="r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2018 Evalueserve. All rights reserved.</a:t>
            </a:r>
            <a:endParaRPr lang="en-GB" dirty="0"/>
          </a:p>
        </p:txBody>
      </p:sp>
      <p:grpSp>
        <p:nvGrpSpPr>
          <p:cNvPr id="32" name="Group 31"/>
          <p:cNvGrpSpPr/>
          <p:nvPr/>
        </p:nvGrpSpPr>
        <p:grpSpPr>
          <a:xfrm>
            <a:off x="1355424" y="1519911"/>
            <a:ext cx="7369476" cy="671348"/>
            <a:chOff x="1355425" y="1519911"/>
            <a:chExt cx="5930746" cy="671348"/>
          </a:xfrm>
        </p:grpSpPr>
        <p:sp>
          <p:nvSpPr>
            <p:cNvPr id="33" name="Rectangle 32"/>
            <p:cNvSpPr/>
            <p:nvPr/>
          </p:nvSpPr>
          <p:spPr bwMode="auto">
            <a:xfrm>
              <a:off x="1355425" y="1520453"/>
              <a:ext cx="5930746" cy="670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457200" tIns="108000" rIns="365760" bIns="108000" rtlCol="0" anchor="ctr">
              <a:noAutofit/>
            </a:bodyPr>
            <a:lstStyle>
              <a:defPPr>
                <a:defRPr lang="en-US"/>
              </a:defPPr>
              <a:lvl1pPr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521162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042325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563487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084649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605811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126974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648136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169298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/>
              <a:endParaRPr lang="en-US" altLang="en-US" sz="1600" dirty="0" smtClean="0">
                <a:solidFill>
                  <a:schemeClr val="bg2"/>
                </a:solidFill>
                <a:latin typeface="+mn-lt"/>
                <a:ea typeface="MS PGothic" pitchFamily="34" charset="-128"/>
              </a:endParaRPr>
            </a:p>
            <a:p>
              <a:pPr algn="l"/>
              <a:r>
                <a:rPr lang="tr-TR" altLang="en-US" sz="1600" b="1" dirty="0" smtClean="0">
                  <a:solidFill>
                    <a:schemeClr val="bg2"/>
                  </a:solidFill>
                  <a:latin typeface="+mn-lt"/>
                  <a:ea typeface="MS PGothic" pitchFamily="34" charset="-128"/>
                </a:rPr>
                <a:t>C:</a:t>
              </a:r>
              <a:r>
                <a:rPr lang="en-US" altLang="en-US" sz="1600" b="1" dirty="0">
                  <a:solidFill>
                    <a:schemeClr val="bg2"/>
                  </a:solidFill>
                  <a:latin typeface="+mn-lt"/>
                  <a:ea typeface="MS PGothic" pitchFamily="34" charset="-128"/>
                </a:rPr>
                <a:t> </a:t>
              </a:r>
              <a:r>
                <a:rPr lang="en-US" altLang="en-US" sz="1600" b="1" dirty="0" smtClean="0">
                  <a:solidFill>
                    <a:schemeClr val="bg2"/>
                  </a:solidFill>
                  <a:latin typeface="+mn-lt"/>
                  <a:ea typeface="MS PGothic" pitchFamily="34" charset="-128"/>
                </a:rPr>
                <a:t>     </a:t>
              </a:r>
              <a:r>
                <a:rPr lang="tr-TR" altLang="en-US" sz="1600" b="1" dirty="0" smtClean="0">
                  <a:solidFill>
                    <a:schemeClr val="bg2"/>
                  </a:solidFill>
                  <a:latin typeface="+mn-lt"/>
                  <a:ea typeface="MS PGothic" pitchFamily="34" charset="-128"/>
                </a:rPr>
                <a:t>Clear</a:t>
              </a:r>
              <a:r>
                <a:rPr lang="en-US" altLang="en-US" sz="1600" b="1" dirty="0" smtClean="0">
                  <a:solidFill>
                    <a:schemeClr val="bg2"/>
                  </a:solidFill>
                  <a:latin typeface="+mn-lt"/>
                  <a:ea typeface="MS PGothic" pitchFamily="34" charset="-128"/>
                </a:rPr>
                <a:t> </a:t>
              </a:r>
              <a:r>
                <a:rPr lang="en-US" altLang="en-US" sz="1600" dirty="0">
                  <a:solidFill>
                    <a:schemeClr val="bg2"/>
                  </a:solidFill>
                  <a:latin typeface="+mn-lt"/>
                  <a:ea typeface="MS PGothic" pitchFamily="34" charset="-128"/>
                </a:rPr>
                <a:t>– </a:t>
              </a:r>
              <a:r>
                <a:rPr lang="tr-TR" altLang="en-US" sz="1600" dirty="0">
                  <a:solidFill>
                    <a:schemeClr val="bg2"/>
                  </a:solidFill>
                  <a:latin typeface="+mn-lt"/>
                  <a:ea typeface="MS PGothic" pitchFamily="34" charset="-128"/>
                </a:rPr>
                <a:t>the use of simple,</a:t>
              </a:r>
              <a:r>
                <a:rPr lang="en-US" altLang="en-US" sz="1600" dirty="0">
                  <a:solidFill>
                    <a:schemeClr val="bg2"/>
                  </a:solidFill>
                  <a:latin typeface="+mn-lt"/>
                  <a:ea typeface="MS PGothic" pitchFamily="34" charset="-128"/>
                </a:rPr>
                <a:t> </a:t>
              </a:r>
              <a:r>
                <a:rPr lang="tr-TR" altLang="en-US" sz="1600" dirty="0">
                  <a:solidFill>
                    <a:schemeClr val="bg2"/>
                  </a:solidFill>
                  <a:latin typeface="+mn-lt"/>
                  <a:ea typeface="MS PGothic" pitchFamily="34" charset="-128"/>
                </a:rPr>
                <a:t>easily understood words and phrases</a:t>
              </a:r>
              <a:endParaRPr lang="en-US" altLang="en-US" sz="1600" dirty="0">
                <a:solidFill>
                  <a:schemeClr val="bg2"/>
                </a:solidFill>
                <a:latin typeface="+mn-lt"/>
                <a:ea typeface="MS PGothic" pitchFamily="34" charset="-128"/>
              </a:endParaRPr>
            </a:p>
            <a:p>
              <a:pPr algn="l"/>
              <a:endParaRPr lang="en-US" sz="1600" dirty="0">
                <a:solidFill>
                  <a:schemeClr val="bg2"/>
                </a:solidFill>
                <a:latin typeface="+mn-lt"/>
                <a:ea typeface="MS PGothic" pitchFamily="34" charset="-128"/>
              </a:endParaRPr>
            </a:p>
          </p:txBody>
        </p:sp>
        <p:sp>
          <p:nvSpPr>
            <p:cNvPr id="34" name="Right Triangle 33"/>
            <p:cNvSpPr/>
            <p:nvPr/>
          </p:nvSpPr>
          <p:spPr bwMode="auto">
            <a:xfrm rot="10800000" flipV="1">
              <a:off x="6980015" y="1519911"/>
              <a:ext cx="306156" cy="671347"/>
            </a:xfrm>
            <a:prstGeom prst="rtTriangle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08000" tIns="108000" rIns="365760" bIns="108000" rtlCol="0" anchor="ctr">
              <a:noAutofit/>
            </a:bodyPr>
            <a:lstStyle>
              <a:defPPr>
                <a:defRPr lang="en-US"/>
              </a:defPPr>
              <a:lvl1pPr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521162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042325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563487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084649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605811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126974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648136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169298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/>
              <a:endParaRPr lang="en-IN" smtClean="0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355424" y="2386172"/>
            <a:ext cx="7369476" cy="671347"/>
            <a:chOff x="1355425" y="2386172"/>
            <a:chExt cx="5930746" cy="671347"/>
          </a:xfrm>
        </p:grpSpPr>
        <p:sp>
          <p:nvSpPr>
            <p:cNvPr id="36" name="Rectangle 35"/>
            <p:cNvSpPr/>
            <p:nvPr/>
          </p:nvSpPr>
          <p:spPr bwMode="auto">
            <a:xfrm>
              <a:off x="1355425" y="2386713"/>
              <a:ext cx="5930746" cy="670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457200" tIns="108000" rIns="365760" bIns="108000" rtlCol="0" anchor="ctr">
              <a:noAutofit/>
            </a:bodyPr>
            <a:lstStyle>
              <a:defPPr>
                <a:defRPr lang="en-US"/>
              </a:defPPr>
              <a:lvl1pPr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521162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042325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563487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084649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605811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126974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648136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169298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/>
              <a:endParaRPr lang="en-US" altLang="en-US" sz="1600" b="1" dirty="0" smtClean="0">
                <a:solidFill>
                  <a:schemeClr val="bg2"/>
                </a:solidFill>
              </a:endParaRPr>
            </a:p>
            <a:p>
              <a:pPr algn="l"/>
              <a:r>
                <a:rPr lang="tr-TR" altLang="en-US" sz="1600" b="1" dirty="0" smtClean="0">
                  <a:solidFill>
                    <a:schemeClr val="bg2"/>
                  </a:solidFill>
                </a:rPr>
                <a:t>L:</a:t>
              </a:r>
              <a:r>
                <a:rPr lang="en-US" altLang="en-US" sz="1600" b="1" dirty="0" smtClean="0">
                  <a:solidFill>
                    <a:schemeClr val="bg2"/>
                  </a:solidFill>
                </a:rPr>
                <a:t>      </a:t>
              </a:r>
              <a:r>
                <a:rPr lang="tr-TR" altLang="en-US" sz="1600" b="1" dirty="0" smtClean="0">
                  <a:solidFill>
                    <a:schemeClr val="bg2"/>
                  </a:solidFill>
                </a:rPr>
                <a:t>Loud </a:t>
              </a:r>
              <a:r>
                <a:rPr lang="tr-TR" altLang="en-US" sz="1600" dirty="0">
                  <a:solidFill>
                    <a:schemeClr val="bg2"/>
                  </a:solidFill>
                </a:rPr>
                <a:t>(enough)</a:t>
              </a:r>
              <a:r>
                <a:rPr lang="en-US" altLang="en-US" sz="1600" dirty="0">
                  <a:solidFill>
                    <a:schemeClr val="bg2"/>
                  </a:solidFill>
                </a:rPr>
                <a:t> – </a:t>
              </a:r>
              <a:r>
                <a:rPr lang="tr-TR" altLang="en-US" sz="1600" dirty="0">
                  <a:solidFill>
                    <a:schemeClr val="bg2"/>
                  </a:solidFill>
                </a:rPr>
                <a:t>it is important that everyone can hear you</a:t>
              </a:r>
              <a:endParaRPr lang="en-US" altLang="en-US" sz="1600" dirty="0">
                <a:solidFill>
                  <a:schemeClr val="bg2"/>
                </a:solidFill>
              </a:endParaRPr>
            </a:p>
            <a:p>
              <a:pPr algn="l"/>
              <a:endParaRPr lang="en-US" sz="1600" dirty="0">
                <a:solidFill>
                  <a:schemeClr val="bg2"/>
                </a:solidFill>
                <a:latin typeface="+mn-lt"/>
                <a:ea typeface="MS PGothic" pitchFamily="34" charset="-128"/>
              </a:endParaRPr>
            </a:p>
          </p:txBody>
        </p:sp>
        <p:sp>
          <p:nvSpPr>
            <p:cNvPr id="37" name="Right Triangle 36"/>
            <p:cNvSpPr/>
            <p:nvPr/>
          </p:nvSpPr>
          <p:spPr bwMode="auto">
            <a:xfrm rot="10800000" flipV="1">
              <a:off x="6980015" y="2386172"/>
              <a:ext cx="306156" cy="671347"/>
            </a:xfrm>
            <a:prstGeom prst="rtTriangle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08000" tIns="108000" rIns="365760" bIns="108000" rtlCol="0" anchor="ctr">
              <a:noAutofit/>
            </a:bodyPr>
            <a:lstStyle>
              <a:defPPr>
                <a:defRPr lang="en-US"/>
              </a:defPPr>
              <a:lvl1pPr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521162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042325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563487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084649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605811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126974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648136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169298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/>
              <a:endParaRPr lang="en-IN" b="1" smtClean="0">
                <a:solidFill>
                  <a:schemeClr val="bg2"/>
                </a:solidFill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1355424" y="3251353"/>
            <a:ext cx="7369476" cy="671347"/>
            <a:chOff x="1355425" y="3251353"/>
            <a:chExt cx="5930746" cy="671347"/>
          </a:xfrm>
        </p:grpSpPr>
        <p:sp>
          <p:nvSpPr>
            <p:cNvPr id="39" name="Rectangle 38"/>
            <p:cNvSpPr/>
            <p:nvPr/>
          </p:nvSpPr>
          <p:spPr bwMode="auto">
            <a:xfrm>
              <a:off x="1355425" y="3251894"/>
              <a:ext cx="5930746" cy="670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457200" tIns="108000" rIns="365760" bIns="108000" rtlCol="0" anchor="ctr">
              <a:noAutofit/>
            </a:bodyPr>
            <a:lstStyle>
              <a:defPPr>
                <a:defRPr lang="en-US"/>
              </a:defPPr>
              <a:lvl1pPr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521162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042325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563487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084649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605811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126974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648136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169298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631199" indent="-631199" algn="l">
                <a:lnSpc>
                  <a:spcPct val="90000"/>
                </a:lnSpc>
              </a:pPr>
              <a:r>
                <a:rPr lang="tr-TR" altLang="en-US" sz="1600" b="1" dirty="0" smtClean="0">
                  <a:solidFill>
                    <a:schemeClr val="bg2"/>
                  </a:solidFill>
                </a:rPr>
                <a:t>A:</a:t>
              </a:r>
              <a:r>
                <a:rPr lang="en-US" altLang="en-US" sz="1600" b="1" dirty="0" smtClean="0">
                  <a:solidFill>
                    <a:schemeClr val="bg2"/>
                  </a:solidFill>
                </a:rPr>
                <a:t>     A</a:t>
              </a:r>
              <a:r>
                <a:rPr lang="tr-TR" altLang="en-US" sz="1600" b="1" dirty="0" smtClean="0">
                  <a:solidFill>
                    <a:schemeClr val="bg2"/>
                  </a:solidFill>
                </a:rPr>
                <a:t>ssertive</a:t>
              </a:r>
              <a:r>
                <a:rPr lang="en-US" altLang="en-US" sz="1600" dirty="0" smtClean="0">
                  <a:solidFill>
                    <a:schemeClr val="bg2"/>
                  </a:solidFill>
                </a:rPr>
                <a:t> </a:t>
              </a:r>
              <a:r>
                <a:rPr lang="en-US" altLang="en-US" sz="1600" dirty="0">
                  <a:solidFill>
                    <a:schemeClr val="bg2"/>
                  </a:solidFill>
                </a:rPr>
                <a:t>– a</a:t>
              </a:r>
              <a:r>
                <a:rPr lang="tr-TR" altLang="en-US" sz="1600" dirty="0">
                  <a:solidFill>
                    <a:schemeClr val="bg2"/>
                  </a:solidFill>
                </a:rPr>
                <a:t> bright and confident air born of knowledge of </a:t>
              </a:r>
              <a:r>
                <a:rPr lang="tr-TR" altLang="en-US" sz="1600" dirty="0" smtClean="0">
                  <a:solidFill>
                    <a:schemeClr val="bg2"/>
                  </a:solidFill>
                </a:rPr>
                <a:t>the</a:t>
              </a:r>
              <a:r>
                <a:rPr lang="en-US" altLang="en-US" sz="1600" dirty="0" smtClean="0">
                  <a:solidFill>
                    <a:schemeClr val="bg2"/>
                  </a:solidFill>
                </a:rPr>
                <a:t> </a:t>
              </a:r>
              <a:r>
                <a:rPr lang="tr-TR" altLang="en-US" sz="1600" dirty="0" smtClean="0">
                  <a:solidFill>
                    <a:schemeClr val="bg2"/>
                  </a:solidFill>
                </a:rPr>
                <a:t>subject </a:t>
              </a:r>
              <a:r>
                <a:rPr lang="tr-TR" altLang="en-US" sz="1600" dirty="0">
                  <a:solidFill>
                    <a:schemeClr val="bg2"/>
                  </a:solidFill>
                </a:rPr>
                <a:t>and good preparation</a:t>
              </a:r>
              <a:endParaRPr lang="en-US" altLang="en-US" sz="1600" dirty="0">
                <a:solidFill>
                  <a:schemeClr val="bg2"/>
                </a:solidFill>
              </a:endParaRPr>
            </a:p>
          </p:txBody>
        </p:sp>
        <p:sp>
          <p:nvSpPr>
            <p:cNvPr id="40" name="Right Triangle 39"/>
            <p:cNvSpPr/>
            <p:nvPr/>
          </p:nvSpPr>
          <p:spPr bwMode="auto">
            <a:xfrm rot="10800000" flipV="1">
              <a:off x="6980015" y="3251353"/>
              <a:ext cx="306156" cy="671347"/>
            </a:xfrm>
            <a:prstGeom prst="rtTriangle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08000" tIns="108000" rIns="365760" bIns="108000" rtlCol="0" anchor="ctr">
              <a:noAutofit/>
            </a:bodyPr>
            <a:lstStyle>
              <a:defPPr>
                <a:defRPr lang="en-US"/>
              </a:defPPr>
              <a:lvl1pPr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521162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042325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563487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084649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605811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126974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648136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169298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/>
              <a:endParaRPr lang="en-IN" smtClean="0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1355424" y="4117072"/>
            <a:ext cx="7369476" cy="670097"/>
            <a:chOff x="1355425" y="4117072"/>
            <a:chExt cx="5930746" cy="1807478"/>
          </a:xfrm>
        </p:grpSpPr>
        <p:sp>
          <p:nvSpPr>
            <p:cNvPr id="42" name="Rectangle 41"/>
            <p:cNvSpPr/>
            <p:nvPr/>
          </p:nvSpPr>
          <p:spPr bwMode="auto">
            <a:xfrm>
              <a:off x="1355425" y="4118531"/>
              <a:ext cx="5930746" cy="18060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457200" tIns="108000" rIns="365760" bIns="108000" rtlCol="0" anchor="ctr">
              <a:noAutofit/>
            </a:bodyPr>
            <a:lstStyle>
              <a:defPPr>
                <a:defRPr lang="en-US"/>
              </a:defPPr>
              <a:lvl1pPr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521162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042325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563487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084649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605811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126974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648136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169298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631199" indent="-631199" algn="l">
                <a:lnSpc>
                  <a:spcPct val="90000"/>
                </a:lnSpc>
              </a:pPr>
              <a:endParaRPr lang="tr-TR" altLang="en-US" sz="1600" dirty="0">
                <a:solidFill>
                  <a:schemeClr val="bg2"/>
                </a:solidFill>
              </a:endParaRPr>
            </a:p>
            <a:p>
              <a:pPr marL="631199" indent="-631199" algn="l">
                <a:lnSpc>
                  <a:spcPct val="90000"/>
                </a:lnSpc>
              </a:pPr>
              <a:r>
                <a:rPr lang="tr-TR" altLang="en-US" sz="1600" b="1" dirty="0" smtClean="0">
                  <a:solidFill>
                    <a:schemeClr val="bg2"/>
                  </a:solidFill>
                </a:rPr>
                <a:t>P:</a:t>
              </a:r>
              <a:r>
                <a:rPr lang="en-US" altLang="en-US" sz="1600" b="1" dirty="0" smtClean="0">
                  <a:solidFill>
                    <a:schemeClr val="bg2"/>
                  </a:solidFill>
                </a:rPr>
                <a:t>    </a:t>
              </a:r>
              <a:r>
                <a:rPr lang="tr-TR" altLang="en-US" sz="1600" b="1" dirty="0" smtClean="0">
                  <a:solidFill>
                    <a:schemeClr val="bg2"/>
                  </a:solidFill>
                </a:rPr>
                <a:t>Pause</a:t>
              </a:r>
              <a:r>
                <a:rPr lang="en-US" altLang="en-US" sz="1600" dirty="0" smtClean="0">
                  <a:solidFill>
                    <a:schemeClr val="bg2"/>
                  </a:solidFill>
                </a:rPr>
                <a:t> </a:t>
              </a:r>
              <a:r>
                <a:rPr lang="en-US" altLang="en-US" sz="1600" dirty="0">
                  <a:solidFill>
                    <a:schemeClr val="bg2"/>
                  </a:solidFill>
                </a:rPr>
                <a:t>– </a:t>
              </a:r>
              <a:r>
                <a:rPr lang="tr-TR" altLang="en-US" sz="1600" dirty="0">
                  <a:solidFill>
                    <a:schemeClr val="bg2"/>
                  </a:solidFill>
                </a:rPr>
                <a:t>it is essential to allow the listeners</a:t>
              </a:r>
              <a:r>
                <a:rPr lang="en-US" altLang="en-US" sz="1600" dirty="0">
                  <a:solidFill>
                    <a:schemeClr val="bg2"/>
                  </a:solidFill>
                </a:rPr>
                <a:t> time</a:t>
              </a:r>
              <a:r>
                <a:rPr lang="tr-TR" altLang="en-US" sz="1600" dirty="0">
                  <a:solidFill>
                    <a:schemeClr val="bg2"/>
                  </a:solidFill>
                </a:rPr>
                <a:t> to digest what you have said</a:t>
              </a:r>
              <a:endParaRPr lang="en-US" altLang="en-US" sz="1600" dirty="0">
                <a:solidFill>
                  <a:schemeClr val="bg2"/>
                </a:solidFill>
              </a:endParaRPr>
            </a:p>
            <a:p>
              <a:pPr algn="l"/>
              <a:endParaRPr lang="en-US" sz="1600" dirty="0">
                <a:solidFill>
                  <a:schemeClr val="bg2"/>
                </a:solidFill>
                <a:latin typeface="+mn-lt"/>
                <a:ea typeface="MS PGothic" pitchFamily="34" charset="-128"/>
              </a:endParaRPr>
            </a:p>
          </p:txBody>
        </p:sp>
        <p:sp>
          <p:nvSpPr>
            <p:cNvPr id="43" name="Right Triangle 42"/>
            <p:cNvSpPr/>
            <p:nvPr/>
          </p:nvSpPr>
          <p:spPr bwMode="auto">
            <a:xfrm rot="10800000" flipV="1">
              <a:off x="6980015" y="4117072"/>
              <a:ext cx="306156" cy="1807475"/>
            </a:xfrm>
            <a:prstGeom prst="rtTriangle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08000" tIns="108000" rIns="365760" bIns="108000" rtlCol="0" anchor="ctr">
              <a:noAutofit/>
            </a:bodyPr>
            <a:lstStyle>
              <a:defPPr>
                <a:defRPr lang="en-US"/>
              </a:defPPr>
              <a:lvl1pPr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521162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042325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563487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084649" algn="ctr" rtl="0" eaLnBrk="0" fontAlgn="base" hangingPunct="0">
                <a:spcBef>
                  <a:spcPct val="5000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605811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126974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648136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169298" algn="l" defTabSz="1042325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/>
              <a:endParaRPr lang="en-IN" smtClean="0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cxnSp>
        <p:nvCxnSpPr>
          <p:cNvPr id="44" name="Straight Connector 43"/>
          <p:cNvCxnSpPr/>
          <p:nvPr/>
        </p:nvCxnSpPr>
        <p:spPr>
          <a:xfrm rot="16200000">
            <a:off x="1261003" y="4155277"/>
            <a:ext cx="0" cy="595480"/>
          </a:xfrm>
          <a:prstGeom prst="line">
            <a:avLst/>
          </a:prstGeom>
          <a:ln w="28575">
            <a:solidFill>
              <a:schemeClr val="tx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rot="16200000">
            <a:off x="1241953" y="3289556"/>
            <a:ext cx="0" cy="595480"/>
          </a:xfrm>
          <a:prstGeom prst="line">
            <a:avLst/>
          </a:prstGeom>
          <a:ln w="28575">
            <a:solidFill>
              <a:schemeClr val="tx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/>
          <p:cNvSpPr/>
          <p:nvPr/>
        </p:nvSpPr>
        <p:spPr>
          <a:xfrm>
            <a:off x="1424870" y="2587518"/>
            <a:ext cx="270356" cy="26811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162"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325"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3487"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4649"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5811" algn="l" defTabSz="1042325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6974" algn="l" defTabSz="1042325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48136" algn="l" defTabSz="1042325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69298" algn="l" defTabSz="1042325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 smtClean="0"/>
          </a:p>
        </p:txBody>
      </p:sp>
      <p:cxnSp>
        <p:nvCxnSpPr>
          <p:cNvPr id="47" name="Straight Connector 46"/>
          <p:cNvCxnSpPr/>
          <p:nvPr/>
        </p:nvCxnSpPr>
        <p:spPr>
          <a:xfrm rot="16200000">
            <a:off x="1241953" y="1558115"/>
            <a:ext cx="0" cy="595480"/>
          </a:xfrm>
          <a:prstGeom prst="line">
            <a:avLst/>
          </a:prstGeom>
          <a:ln w="28575">
            <a:solidFill>
              <a:schemeClr val="tx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625475" y="1520453"/>
            <a:ext cx="574417" cy="3266716"/>
          </a:xfrm>
          <a:prstGeom prst="rect">
            <a:avLst/>
          </a:prstGeom>
          <a:solidFill>
            <a:srgbClr val="EE2653"/>
          </a:solidFill>
          <a:ln w="6350" cap="rnd" cmpd="sng">
            <a:noFill/>
            <a:prstDash val="solid"/>
            <a:round/>
            <a:headEnd/>
            <a:tailEnd/>
          </a:ln>
          <a:effectLst/>
        </p:spPr>
        <p:txBody>
          <a:bodyPr vert="vert270" lIns="91395" tIns="45699" rIns="91395" bIns="45699" anchor="ctr"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521162"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42325"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63487"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84649" algn="ctr" rtl="0" eaLnBrk="0" fontAlgn="base" hangingPunct="0">
              <a:spcBef>
                <a:spcPct val="5000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605811" algn="l" defTabSz="104232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126974" algn="l" defTabSz="104232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648136" algn="l" defTabSz="104232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169298" algn="l" defTabSz="104232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cxnSp>
        <p:nvCxnSpPr>
          <p:cNvPr id="49" name="Straight Connector 48"/>
          <p:cNvCxnSpPr/>
          <p:nvPr/>
        </p:nvCxnSpPr>
        <p:spPr>
          <a:xfrm rot="16200000">
            <a:off x="1268850" y="2425086"/>
            <a:ext cx="0" cy="595480"/>
          </a:xfrm>
          <a:prstGeom prst="line">
            <a:avLst/>
          </a:prstGeom>
          <a:ln w="28575">
            <a:solidFill>
              <a:schemeClr val="tx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"/>
          <p:cNvSpPr txBox="1">
            <a:spLocks noChangeArrowheads="1"/>
          </p:cNvSpPr>
          <p:nvPr/>
        </p:nvSpPr>
        <p:spPr>
          <a:xfrm>
            <a:off x="783097" y="5878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4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Arial" charset="0"/>
              </a:defRPr>
            </a:lvl5pPr>
            <a:lvl6pPr marL="521162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Arial" charset="0"/>
              </a:defRPr>
            </a:lvl6pPr>
            <a:lvl7pPr marL="1042325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Arial" charset="0"/>
              </a:defRPr>
            </a:lvl7pPr>
            <a:lvl8pPr marL="1563487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Arial" charset="0"/>
              </a:defRPr>
            </a:lvl8pPr>
            <a:lvl9pPr marL="2084649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4400"/>
            <a:r>
              <a:rPr lang="en-US" altLang="en-US" kern="0" dirty="0" smtClean="0"/>
              <a:t>The Voice</a:t>
            </a:r>
          </a:p>
        </p:txBody>
      </p:sp>
    </p:spTree>
    <p:extLst>
      <p:ext uri="{BB962C8B-B14F-4D97-AF65-F5344CB8AC3E}">
        <p14:creationId xmlns:p14="http://schemas.microsoft.com/office/powerpoint/2010/main" val="6455209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 err="1" smtClean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1" id="{128F3E0C-9E5A-43CB-8ED7-85FA52D2F396}" vid="{B7AD492C-2EF6-4A28-A023-33676C7FDB6E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prstClr val="black"/>
          </a:buClr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1" id="{128F3E0C-9E5A-43CB-8ED7-85FA52D2F396}" vid="{FD8CBD46-CE2F-4FD8-8EB0-FE6E7AE1633A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1" id="{128F3E0C-9E5A-43CB-8ED7-85FA52D2F396}" vid="{61613920-6726-4853-BCAF-73550F0D86FB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47254B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1" id="{128F3E0C-9E5A-43CB-8ED7-85FA52D2F396}" vid="{40292F00-686E-46A3-AC01-CB9F766BB0EB}"/>
    </a:ext>
  </a:extLst>
</a:theme>
</file>

<file path=ppt/theme/theme5.xml><?xml version="1.0" encoding="utf-8"?>
<a:theme xmlns:a="http://schemas.openxmlformats.org/drawingml/2006/main" name="Evalueserve Case Study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1" id="{128F3E0C-9E5A-43CB-8ED7-85FA52D2F396}" vid="{5FD973A6-8846-4595-B619-7393A35F1865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18F5090D761B46B3967B90740DE3A2" ma:contentTypeVersion="0" ma:contentTypeDescription="Create a new document." ma:contentTypeScope="" ma:versionID="2380b8c798818aef896bdcd661ce951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FC254B-76AB-4B84-9FF9-CB97EF678B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77E1A01-F88D-4CA5-9A3C-35586A86277E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2C2F03F-9C13-43C2-997A-A9E61872FA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274</TotalTime>
  <Words>950</Words>
  <Application>Microsoft Office PowerPoint</Application>
  <PresentationFormat>Custom</PresentationFormat>
  <Paragraphs>253</Paragraphs>
  <Slides>12</Slides>
  <Notes>11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MS PGothic</vt:lpstr>
      <vt:lpstr>Arial</vt:lpstr>
      <vt:lpstr>Calibri</vt:lpstr>
      <vt:lpstr>Geneva</vt:lpstr>
      <vt:lpstr>黑体</vt:lpstr>
      <vt:lpstr>Times New Roman</vt:lpstr>
      <vt:lpstr>Verdana</vt:lpstr>
      <vt:lpstr>Wingdings</vt:lpstr>
      <vt:lpstr>Evalueserve Common Layout</vt:lpstr>
      <vt:lpstr>Evalueserve Pink Theme</vt:lpstr>
      <vt:lpstr>Evalueserve Purple Theme</vt:lpstr>
      <vt:lpstr>Evalueserve Dark Purple Theme</vt:lpstr>
      <vt:lpstr>Evalueserve Case Study Layout</vt:lpstr>
      <vt:lpstr>think-cell Slide</vt:lpstr>
      <vt:lpstr>Effective Presentation Skills</vt:lpstr>
      <vt:lpstr>Your Takeaway/s? </vt:lpstr>
      <vt:lpstr>Table of Content Roadmap</vt:lpstr>
      <vt:lpstr>Why Do We Present</vt:lpstr>
      <vt:lpstr>An Ideal Presentation</vt:lpstr>
      <vt:lpstr>The Prep Work</vt:lpstr>
      <vt:lpstr>Sequencing</vt:lpstr>
      <vt:lpstr>What Makes an Effective Speaker?</vt:lpstr>
      <vt:lpstr> </vt:lpstr>
      <vt:lpstr>Body Language</vt:lpstr>
      <vt:lpstr>Common Pitfalls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title</dc:title>
  <dc:creator>Arnab Kar</dc:creator>
  <cp:lastModifiedBy>Chaman Preet</cp:lastModifiedBy>
  <cp:revision>62</cp:revision>
  <dcterms:created xsi:type="dcterms:W3CDTF">2016-06-21T11:34:54Z</dcterms:created>
  <dcterms:modified xsi:type="dcterms:W3CDTF">2019-05-06T06:2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B18F5090D761B46B3967B90740DE3A2</vt:lpwstr>
  </property>
  <property fmtid="{D5CDD505-2E9C-101B-9397-08002B2CF9AE}" pid="3" name="MSIP_Label_108323bc-6957-4d17-9d79-bbdb89963f12_Enabled">
    <vt:lpwstr>False</vt:lpwstr>
  </property>
  <property fmtid="{D5CDD505-2E9C-101B-9397-08002B2CF9AE}" pid="4" name="MSIP_Label_108323bc-6957-4d17-9d79-bbdb89963f12_SiteId">
    <vt:lpwstr>0483ae51-a627-466e-a7dd-de2ac7e1238e</vt:lpwstr>
  </property>
  <property fmtid="{D5CDD505-2E9C-101B-9397-08002B2CF9AE}" pid="5" name="MSIP_Label_108323bc-6957-4d17-9d79-bbdb89963f12_Owner">
    <vt:lpwstr>Chaman.Preet@Evalueserve.com</vt:lpwstr>
  </property>
  <property fmtid="{D5CDD505-2E9C-101B-9397-08002B2CF9AE}" pid="6" name="MSIP_Label_108323bc-6957-4d17-9d79-bbdb89963f12_SetDate">
    <vt:lpwstr>2019-05-06T06:28:28.3682794Z</vt:lpwstr>
  </property>
  <property fmtid="{D5CDD505-2E9C-101B-9397-08002B2CF9AE}" pid="7" name="MSIP_Label_108323bc-6957-4d17-9d79-bbdb89963f12_Name">
    <vt:lpwstr>Confidential</vt:lpwstr>
  </property>
  <property fmtid="{D5CDD505-2E9C-101B-9397-08002B2CF9AE}" pid="8" name="MSIP_Label_108323bc-6957-4d17-9d79-bbdb89963f12_Application">
    <vt:lpwstr>Microsoft Azure Information Protection</vt:lpwstr>
  </property>
  <property fmtid="{D5CDD505-2E9C-101B-9397-08002B2CF9AE}" pid="9" name="MSIP_Label_108323bc-6957-4d17-9d79-bbdb89963f12_Extended_MSFT_Method">
    <vt:lpwstr>Manual</vt:lpwstr>
  </property>
</Properties>
</file>